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80" r:id="rId5"/>
    <p:sldId id="331" r:id="rId6"/>
    <p:sldId id="325" r:id="rId7"/>
    <p:sldId id="334" r:id="rId8"/>
    <p:sldId id="324" r:id="rId9"/>
    <p:sldId id="332" r:id="rId10"/>
    <p:sldId id="330" r:id="rId11"/>
    <p:sldId id="320" r:id="rId12"/>
    <p:sldId id="338" r:id="rId13"/>
    <p:sldId id="340" r:id="rId14"/>
    <p:sldId id="337" r:id="rId15"/>
    <p:sldId id="329" r:id="rId16"/>
    <p:sldId id="339" r:id="rId17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owan, Joseph F" initials="JFK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A1A33"/>
    <a:srgbClr val="A5A5A5"/>
    <a:srgbClr val="5E4565"/>
    <a:srgbClr val="F56E00"/>
    <a:srgbClr val="65CCE9"/>
    <a:srgbClr val="007298"/>
    <a:srgbClr val="0A2F5D"/>
    <a:srgbClr val="FFBD06"/>
    <a:srgbClr val="EAEAEA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75824" autoAdjust="0"/>
  </p:normalViewPr>
  <p:slideViewPr>
    <p:cSldViewPr showGuides="1">
      <p:cViewPr varScale="1">
        <p:scale>
          <a:sx n="82" d="100"/>
          <a:sy n="82" d="100"/>
        </p:scale>
        <p:origin x="-522" y="-84"/>
      </p:cViewPr>
      <p:guideLst>
        <p:guide orient="horz" pos="720"/>
        <p:guide orient="horz" pos="4071"/>
        <p:guide orient="horz" pos="96"/>
        <p:guide pos="2016"/>
        <p:guide pos="288"/>
        <p:guide pos="5664"/>
        <p:guide pos="4128"/>
      </p:guideLst>
    </p:cSldViewPr>
  </p:slideViewPr>
  <p:outlineViewPr>
    <p:cViewPr>
      <p:scale>
        <a:sx n="33" d="100"/>
        <a:sy n="33" d="100"/>
      </p:scale>
      <p:origin x="0" y="31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-3822" y="-12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D7F5AAE-D9BB-4103-982A-ED54A2FAF284}" type="doc">
      <dgm:prSet loTypeId="urn:microsoft.com/office/officeart/2005/8/layout/process5" loCatId="process" qsTypeId="urn:microsoft.com/office/officeart/2005/8/quickstyle/simple2" qsCatId="simple" csTypeId="urn:microsoft.com/office/officeart/2005/8/colors/colorful1" csCatId="colorful" phldr="1"/>
      <dgm:spPr/>
    </dgm:pt>
    <dgm:pt modelId="{88A98892-D709-426F-8383-C880BB8ADB55}">
      <dgm:prSet phldrT="[Text]" custT="1"/>
      <dgm:spPr/>
      <dgm:t>
        <a:bodyPr/>
        <a:lstStyle/>
        <a:p>
          <a:r>
            <a:rPr lang="en-US" sz="1300" dirty="0" smtClean="0"/>
            <a:t>Develop Application Keyword</a:t>
          </a:r>
          <a:endParaRPr lang="en-US" sz="1300" dirty="0"/>
        </a:p>
      </dgm:t>
    </dgm:pt>
    <dgm:pt modelId="{29F44AE3-5C44-4676-9E7D-FF7E37B67D4A}" type="parTrans" cxnId="{8564EEF8-C888-4E1A-90A1-A9AECF3360A8}">
      <dgm:prSet/>
      <dgm:spPr/>
      <dgm:t>
        <a:bodyPr/>
        <a:lstStyle/>
        <a:p>
          <a:endParaRPr lang="en-US" sz="1300"/>
        </a:p>
      </dgm:t>
    </dgm:pt>
    <dgm:pt modelId="{66391CD0-E2F1-4C7D-B3C6-C3C3EDAA4C1E}" type="sibTrans" cxnId="{8564EEF8-C888-4E1A-90A1-A9AECF3360A8}">
      <dgm:prSet custT="1"/>
      <dgm:spPr/>
      <dgm:t>
        <a:bodyPr/>
        <a:lstStyle/>
        <a:p>
          <a:endParaRPr lang="en-US" sz="1300"/>
        </a:p>
      </dgm:t>
    </dgm:pt>
    <dgm:pt modelId="{6CA91D3C-C79F-4DBA-AA5C-B9B04149E32F}">
      <dgm:prSet phldrT="[Text]" custT="1"/>
      <dgm:spPr/>
      <dgm:t>
        <a:bodyPr/>
        <a:lstStyle/>
        <a:p>
          <a:r>
            <a:rPr lang="en-US" sz="1300" dirty="0" smtClean="0"/>
            <a:t>Create Test Script / Case Excel File</a:t>
          </a:r>
          <a:endParaRPr lang="en-US" sz="1300" dirty="0"/>
        </a:p>
      </dgm:t>
    </dgm:pt>
    <dgm:pt modelId="{FB9C4F66-3467-477A-837A-0402019E78F0}" type="parTrans" cxnId="{39AF3C38-41EC-4A77-BC9A-4D238E332A01}">
      <dgm:prSet/>
      <dgm:spPr/>
      <dgm:t>
        <a:bodyPr/>
        <a:lstStyle/>
        <a:p>
          <a:endParaRPr lang="en-US" sz="1300"/>
        </a:p>
      </dgm:t>
    </dgm:pt>
    <dgm:pt modelId="{2E6879EF-C5A4-44C1-9F55-A8100C9049C5}" type="sibTrans" cxnId="{39AF3C38-41EC-4A77-BC9A-4D238E332A01}">
      <dgm:prSet custT="1"/>
      <dgm:spPr/>
      <dgm:t>
        <a:bodyPr/>
        <a:lstStyle/>
        <a:p>
          <a:endParaRPr lang="en-US" sz="1300"/>
        </a:p>
      </dgm:t>
    </dgm:pt>
    <dgm:pt modelId="{781A8EDA-E308-4759-9896-6AE803C4A15A}">
      <dgm:prSet phldrT="[Text]" custT="1"/>
      <dgm:spPr/>
      <dgm:t>
        <a:bodyPr/>
        <a:lstStyle/>
        <a:p>
          <a:r>
            <a:rPr lang="en-US" sz="1300" dirty="0" smtClean="0"/>
            <a:t>Prepare Test Data</a:t>
          </a:r>
          <a:endParaRPr lang="en-US" sz="1300" dirty="0"/>
        </a:p>
      </dgm:t>
    </dgm:pt>
    <dgm:pt modelId="{4AEFC47F-C857-4CBA-B96C-0D8D345FCA2C}" type="parTrans" cxnId="{C7240645-C65A-417C-AE47-4909D562D0C1}">
      <dgm:prSet/>
      <dgm:spPr/>
      <dgm:t>
        <a:bodyPr/>
        <a:lstStyle/>
        <a:p>
          <a:endParaRPr lang="en-US" sz="1300"/>
        </a:p>
      </dgm:t>
    </dgm:pt>
    <dgm:pt modelId="{B40E311B-748C-4570-9F3E-5C82CA4BE95F}" type="sibTrans" cxnId="{C7240645-C65A-417C-AE47-4909D562D0C1}">
      <dgm:prSet custT="1"/>
      <dgm:spPr/>
      <dgm:t>
        <a:bodyPr/>
        <a:lstStyle/>
        <a:p>
          <a:endParaRPr lang="en-US" sz="1300"/>
        </a:p>
      </dgm:t>
    </dgm:pt>
    <dgm:pt modelId="{4A191A96-FC61-4C63-BEDE-83B418E85A48}">
      <dgm:prSet custT="1"/>
      <dgm:spPr/>
      <dgm:t>
        <a:bodyPr/>
        <a:lstStyle/>
        <a:p>
          <a:r>
            <a:rPr lang="en-US" sz="1300" dirty="0" smtClean="0"/>
            <a:t>Define Test Case Mapping</a:t>
          </a:r>
        </a:p>
        <a:p>
          <a:r>
            <a:rPr lang="en-US" sz="1300" dirty="0" smtClean="0"/>
            <a:t>(TestCaseMapping.xlsx)</a:t>
          </a:r>
          <a:endParaRPr lang="en-US" sz="1300" dirty="0"/>
        </a:p>
      </dgm:t>
    </dgm:pt>
    <dgm:pt modelId="{DE4064D6-D7A9-43EC-BE34-56E4ADF49EBE}" type="parTrans" cxnId="{2A741CFC-15C9-41E7-8795-EB5CA5B42FCF}">
      <dgm:prSet/>
      <dgm:spPr/>
      <dgm:t>
        <a:bodyPr/>
        <a:lstStyle/>
        <a:p>
          <a:endParaRPr lang="en-US" sz="1300"/>
        </a:p>
      </dgm:t>
    </dgm:pt>
    <dgm:pt modelId="{F6875201-EF38-4835-9131-97DFFC60D470}" type="sibTrans" cxnId="{2A741CFC-15C9-41E7-8795-EB5CA5B42FCF}">
      <dgm:prSet custT="1"/>
      <dgm:spPr/>
      <dgm:t>
        <a:bodyPr/>
        <a:lstStyle/>
        <a:p>
          <a:endParaRPr lang="en-US" sz="1300"/>
        </a:p>
      </dgm:t>
    </dgm:pt>
    <dgm:pt modelId="{C3EEAEC5-AE57-4C21-BF80-7DEFC8B057AD}">
      <dgm:prSet custT="1"/>
      <dgm:spPr/>
      <dgm:t>
        <a:bodyPr/>
        <a:lstStyle/>
        <a:p>
          <a:r>
            <a:rPr lang="en-US" sz="1300" dirty="0" smtClean="0"/>
            <a:t>Create Test Set/Suite</a:t>
          </a:r>
        </a:p>
        <a:p>
          <a:r>
            <a:rPr lang="en-US" sz="1300" dirty="0" smtClean="0"/>
            <a:t>(TestExecution.xlsx)</a:t>
          </a:r>
          <a:endParaRPr lang="en-US" sz="1300" dirty="0"/>
        </a:p>
      </dgm:t>
    </dgm:pt>
    <dgm:pt modelId="{84F0098C-1F89-4E87-8343-CAFCE242B3E9}" type="parTrans" cxnId="{523FED18-6C91-4B17-9542-C26D53189351}">
      <dgm:prSet/>
      <dgm:spPr/>
      <dgm:t>
        <a:bodyPr/>
        <a:lstStyle/>
        <a:p>
          <a:endParaRPr lang="en-US" sz="1300"/>
        </a:p>
      </dgm:t>
    </dgm:pt>
    <dgm:pt modelId="{0B0A0B68-7B6E-4AA6-9EB3-CDDA939A8F43}" type="sibTrans" cxnId="{523FED18-6C91-4B17-9542-C26D53189351}">
      <dgm:prSet custT="1"/>
      <dgm:spPr/>
      <dgm:t>
        <a:bodyPr/>
        <a:lstStyle/>
        <a:p>
          <a:endParaRPr lang="en-US" sz="1300"/>
        </a:p>
      </dgm:t>
    </dgm:pt>
    <dgm:pt modelId="{47C6CEA3-598C-4F56-9F49-F007F8E38E0A}">
      <dgm:prSet custT="1"/>
      <dgm:spPr/>
      <dgm:t>
        <a:bodyPr/>
        <a:lstStyle/>
        <a:p>
          <a:r>
            <a:rPr lang="en-US" sz="1300" dirty="0" smtClean="0"/>
            <a:t>Setup Configuration Settings</a:t>
          </a:r>
          <a:endParaRPr lang="en-US" sz="1300" dirty="0"/>
        </a:p>
      </dgm:t>
    </dgm:pt>
    <dgm:pt modelId="{A4C15D40-1FC9-4C29-97B9-7E8C02838380}" type="parTrans" cxnId="{D1D980A7-2F83-4D7C-AEB9-F22E386047FF}">
      <dgm:prSet/>
      <dgm:spPr/>
      <dgm:t>
        <a:bodyPr/>
        <a:lstStyle/>
        <a:p>
          <a:endParaRPr lang="en-US" sz="1300"/>
        </a:p>
      </dgm:t>
    </dgm:pt>
    <dgm:pt modelId="{1DB4626D-7AAA-4E1F-BF7A-775B35781043}" type="sibTrans" cxnId="{D1D980A7-2F83-4D7C-AEB9-F22E386047FF}">
      <dgm:prSet custT="1"/>
      <dgm:spPr/>
      <dgm:t>
        <a:bodyPr/>
        <a:lstStyle/>
        <a:p>
          <a:endParaRPr lang="en-US" sz="1300"/>
        </a:p>
      </dgm:t>
    </dgm:pt>
    <dgm:pt modelId="{A4DC2A5E-2350-400F-949F-D3E9D3939552}">
      <dgm:prSet custT="1"/>
      <dgm:spPr/>
      <dgm:t>
        <a:bodyPr/>
        <a:lstStyle/>
        <a:p>
          <a:r>
            <a:rPr lang="en-US" sz="1300" dirty="0" smtClean="0"/>
            <a:t>Run</a:t>
          </a:r>
          <a:endParaRPr lang="en-US" sz="1300" dirty="0"/>
        </a:p>
      </dgm:t>
    </dgm:pt>
    <dgm:pt modelId="{1E452B31-7469-45C0-A160-DE11AB3F8C04}" type="parTrans" cxnId="{3CE1E780-150D-4162-B870-523C0F1CA272}">
      <dgm:prSet/>
      <dgm:spPr/>
      <dgm:t>
        <a:bodyPr/>
        <a:lstStyle/>
        <a:p>
          <a:endParaRPr lang="en-US" sz="1300"/>
        </a:p>
      </dgm:t>
    </dgm:pt>
    <dgm:pt modelId="{FB00C274-1FC2-4AFE-84F0-91B5A0F2A5CD}" type="sibTrans" cxnId="{3CE1E780-150D-4162-B870-523C0F1CA272}">
      <dgm:prSet custT="1"/>
      <dgm:spPr/>
      <dgm:t>
        <a:bodyPr/>
        <a:lstStyle/>
        <a:p>
          <a:endParaRPr lang="en-US" sz="1300"/>
        </a:p>
      </dgm:t>
    </dgm:pt>
    <dgm:pt modelId="{C34A6904-6D34-4352-A554-9F660082AD58}">
      <dgm:prSet custT="1"/>
      <dgm:spPr/>
      <dgm:t>
        <a:bodyPr/>
        <a:lstStyle/>
        <a:p>
          <a:r>
            <a:rPr lang="en-US" sz="1300" dirty="0" smtClean="0"/>
            <a:t>Check Test Results</a:t>
          </a:r>
          <a:endParaRPr lang="en-US" sz="1300" dirty="0"/>
        </a:p>
      </dgm:t>
    </dgm:pt>
    <dgm:pt modelId="{C915068B-62A8-4D9B-9745-3DC6C3DC442C}" type="parTrans" cxnId="{FE1F7BDA-0F94-4E5F-BFD0-F84B1931AA51}">
      <dgm:prSet/>
      <dgm:spPr/>
      <dgm:t>
        <a:bodyPr/>
        <a:lstStyle/>
        <a:p>
          <a:endParaRPr lang="en-US" sz="1300"/>
        </a:p>
      </dgm:t>
    </dgm:pt>
    <dgm:pt modelId="{AF468946-11C2-4711-9D51-F467EEEA020A}" type="sibTrans" cxnId="{FE1F7BDA-0F94-4E5F-BFD0-F84B1931AA51}">
      <dgm:prSet/>
      <dgm:spPr/>
      <dgm:t>
        <a:bodyPr/>
        <a:lstStyle/>
        <a:p>
          <a:endParaRPr lang="en-US" sz="1300"/>
        </a:p>
      </dgm:t>
    </dgm:pt>
    <dgm:pt modelId="{7092AEFA-C24B-4956-8807-2BA2EB9CB1BF}" type="pres">
      <dgm:prSet presAssocID="{CD7F5AAE-D9BB-4103-982A-ED54A2FAF284}" presName="diagram" presStyleCnt="0">
        <dgm:presLayoutVars>
          <dgm:dir/>
          <dgm:resizeHandles val="exact"/>
        </dgm:presLayoutVars>
      </dgm:prSet>
      <dgm:spPr/>
    </dgm:pt>
    <dgm:pt modelId="{CD57DA23-0CED-4E9C-B736-030D59B9C3FF}" type="pres">
      <dgm:prSet presAssocID="{88A98892-D709-426F-8383-C880BB8ADB55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CE3B9F-D56E-4A90-9635-2EE79F9A59E7}" type="pres">
      <dgm:prSet presAssocID="{66391CD0-E2F1-4C7D-B3C6-C3C3EDAA4C1E}" presName="sibTrans" presStyleLbl="sibTrans2D1" presStyleIdx="0" presStyleCnt="7"/>
      <dgm:spPr/>
      <dgm:t>
        <a:bodyPr/>
        <a:lstStyle/>
        <a:p>
          <a:endParaRPr lang="en-US"/>
        </a:p>
      </dgm:t>
    </dgm:pt>
    <dgm:pt modelId="{B2B5A7B1-0F29-47E7-8BBE-63F2D57CC434}" type="pres">
      <dgm:prSet presAssocID="{66391CD0-E2F1-4C7D-B3C6-C3C3EDAA4C1E}" presName="connectorText" presStyleLbl="sibTrans2D1" presStyleIdx="0" presStyleCnt="7"/>
      <dgm:spPr/>
      <dgm:t>
        <a:bodyPr/>
        <a:lstStyle/>
        <a:p>
          <a:endParaRPr lang="en-US"/>
        </a:p>
      </dgm:t>
    </dgm:pt>
    <dgm:pt modelId="{A518A2C8-5172-4B76-8F08-310ECAD5DC24}" type="pres">
      <dgm:prSet presAssocID="{6CA91D3C-C79F-4DBA-AA5C-B9B04149E32F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8610DD-7EC3-47CB-9982-FEEBAA4BFE86}" type="pres">
      <dgm:prSet presAssocID="{2E6879EF-C5A4-44C1-9F55-A8100C9049C5}" presName="sibTrans" presStyleLbl="sibTrans2D1" presStyleIdx="1" presStyleCnt="7"/>
      <dgm:spPr/>
      <dgm:t>
        <a:bodyPr/>
        <a:lstStyle/>
        <a:p>
          <a:endParaRPr lang="en-US"/>
        </a:p>
      </dgm:t>
    </dgm:pt>
    <dgm:pt modelId="{50AFD2A6-B2E9-418E-A088-49602FB94F41}" type="pres">
      <dgm:prSet presAssocID="{2E6879EF-C5A4-44C1-9F55-A8100C9049C5}" presName="connectorText" presStyleLbl="sibTrans2D1" presStyleIdx="1" presStyleCnt="7"/>
      <dgm:spPr/>
      <dgm:t>
        <a:bodyPr/>
        <a:lstStyle/>
        <a:p>
          <a:endParaRPr lang="en-US"/>
        </a:p>
      </dgm:t>
    </dgm:pt>
    <dgm:pt modelId="{E905380D-F49D-412D-8B8F-3A788E726228}" type="pres">
      <dgm:prSet presAssocID="{781A8EDA-E308-4759-9896-6AE803C4A15A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F8C1A4-F54F-4480-9D7F-03DBD2405136}" type="pres">
      <dgm:prSet presAssocID="{B40E311B-748C-4570-9F3E-5C82CA4BE95F}" presName="sibTrans" presStyleLbl="sibTrans2D1" presStyleIdx="2" presStyleCnt="7"/>
      <dgm:spPr/>
      <dgm:t>
        <a:bodyPr/>
        <a:lstStyle/>
        <a:p>
          <a:endParaRPr lang="en-US"/>
        </a:p>
      </dgm:t>
    </dgm:pt>
    <dgm:pt modelId="{73AE2BA4-E782-49C7-97E2-70E5AEC0B720}" type="pres">
      <dgm:prSet presAssocID="{B40E311B-748C-4570-9F3E-5C82CA4BE95F}" presName="connectorText" presStyleLbl="sibTrans2D1" presStyleIdx="2" presStyleCnt="7"/>
      <dgm:spPr/>
      <dgm:t>
        <a:bodyPr/>
        <a:lstStyle/>
        <a:p>
          <a:endParaRPr lang="en-US"/>
        </a:p>
      </dgm:t>
    </dgm:pt>
    <dgm:pt modelId="{E1F5C271-1FEF-4603-8282-B59E64E87C5D}" type="pres">
      <dgm:prSet presAssocID="{4A191A96-FC61-4C63-BEDE-83B418E85A48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C7FA90-6210-48FE-85C9-E0D03EFB6E43}" type="pres">
      <dgm:prSet presAssocID="{F6875201-EF38-4835-9131-97DFFC60D470}" presName="sibTrans" presStyleLbl="sibTrans2D1" presStyleIdx="3" presStyleCnt="7"/>
      <dgm:spPr/>
      <dgm:t>
        <a:bodyPr/>
        <a:lstStyle/>
        <a:p>
          <a:endParaRPr lang="en-US"/>
        </a:p>
      </dgm:t>
    </dgm:pt>
    <dgm:pt modelId="{7A1F22A4-697D-418A-ABDB-211899F167B3}" type="pres">
      <dgm:prSet presAssocID="{F6875201-EF38-4835-9131-97DFFC60D470}" presName="connectorText" presStyleLbl="sibTrans2D1" presStyleIdx="3" presStyleCnt="7"/>
      <dgm:spPr/>
      <dgm:t>
        <a:bodyPr/>
        <a:lstStyle/>
        <a:p>
          <a:endParaRPr lang="en-US"/>
        </a:p>
      </dgm:t>
    </dgm:pt>
    <dgm:pt modelId="{31153807-17B0-4D78-BE57-FDD9D0426CA0}" type="pres">
      <dgm:prSet presAssocID="{C3EEAEC5-AE57-4C21-BF80-7DEFC8B057AD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EFEAFA-2036-4694-97DC-9F5CA64CE473}" type="pres">
      <dgm:prSet presAssocID="{0B0A0B68-7B6E-4AA6-9EB3-CDDA939A8F43}" presName="sibTrans" presStyleLbl="sibTrans2D1" presStyleIdx="4" presStyleCnt="7"/>
      <dgm:spPr/>
      <dgm:t>
        <a:bodyPr/>
        <a:lstStyle/>
        <a:p>
          <a:endParaRPr lang="en-US"/>
        </a:p>
      </dgm:t>
    </dgm:pt>
    <dgm:pt modelId="{45A6EA67-4E30-426F-8ADF-6241D49AD9FF}" type="pres">
      <dgm:prSet presAssocID="{0B0A0B68-7B6E-4AA6-9EB3-CDDA939A8F43}" presName="connectorText" presStyleLbl="sibTrans2D1" presStyleIdx="4" presStyleCnt="7"/>
      <dgm:spPr/>
      <dgm:t>
        <a:bodyPr/>
        <a:lstStyle/>
        <a:p>
          <a:endParaRPr lang="en-US"/>
        </a:p>
      </dgm:t>
    </dgm:pt>
    <dgm:pt modelId="{F5A58A90-B04F-483A-B2B2-F83F01856055}" type="pres">
      <dgm:prSet presAssocID="{47C6CEA3-598C-4F56-9F49-F007F8E38E0A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9A51F2-7B8E-4766-BB83-5F661AA70B89}" type="pres">
      <dgm:prSet presAssocID="{1DB4626D-7AAA-4E1F-BF7A-775B35781043}" presName="sibTrans" presStyleLbl="sibTrans2D1" presStyleIdx="5" presStyleCnt="7"/>
      <dgm:spPr/>
      <dgm:t>
        <a:bodyPr/>
        <a:lstStyle/>
        <a:p>
          <a:endParaRPr lang="en-US"/>
        </a:p>
      </dgm:t>
    </dgm:pt>
    <dgm:pt modelId="{44192964-F41D-44AD-9A66-C04EC734FFFB}" type="pres">
      <dgm:prSet presAssocID="{1DB4626D-7AAA-4E1F-BF7A-775B35781043}" presName="connectorText" presStyleLbl="sibTrans2D1" presStyleIdx="5" presStyleCnt="7"/>
      <dgm:spPr/>
      <dgm:t>
        <a:bodyPr/>
        <a:lstStyle/>
        <a:p>
          <a:endParaRPr lang="en-US"/>
        </a:p>
      </dgm:t>
    </dgm:pt>
    <dgm:pt modelId="{ECD66CAE-AC8A-4F95-A268-6A32B1A2D1DD}" type="pres">
      <dgm:prSet presAssocID="{A4DC2A5E-2350-400F-949F-D3E9D3939552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1E00B6-D066-4A86-BE65-02EC6A1C608F}" type="pres">
      <dgm:prSet presAssocID="{FB00C274-1FC2-4AFE-84F0-91B5A0F2A5CD}" presName="sibTrans" presStyleLbl="sibTrans2D1" presStyleIdx="6" presStyleCnt="7"/>
      <dgm:spPr/>
      <dgm:t>
        <a:bodyPr/>
        <a:lstStyle/>
        <a:p>
          <a:endParaRPr lang="en-US"/>
        </a:p>
      </dgm:t>
    </dgm:pt>
    <dgm:pt modelId="{12FBD8F2-FB6E-4CD3-A77A-BF38A07D73B2}" type="pres">
      <dgm:prSet presAssocID="{FB00C274-1FC2-4AFE-84F0-91B5A0F2A5CD}" presName="connectorText" presStyleLbl="sibTrans2D1" presStyleIdx="6" presStyleCnt="7"/>
      <dgm:spPr/>
      <dgm:t>
        <a:bodyPr/>
        <a:lstStyle/>
        <a:p>
          <a:endParaRPr lang="en-US"/>
        </a:p>
      </dgm:t>
    </dgm:pt>
    <dgm:pt modelId="{29B43512-5BC0-411A-A632-AE22FF165AAD}" type="pres">
      <dgm:prSet presAssocID="{C34A6904-6D34-4352-A554-9F660082AD58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5A41D38-3BCD-4ACB-8EFD-8E7565452430}" type="presOf" srcId="{F6875201-EF38-4835-9131-97DFFC60D470}" destId="{7A1F22A4-697D-418A-ABDB-211899F167B3}" srcOrd="1" destOrd="0" presId="urn:microsoft.com/office/officeart/2005/8/layout/process5"/>
    <dgm:cxn modelId="{C18A830F-CB16-4D91-88B6-4A35D9C55612}" type="presOf" srcId="{66391CD0-E2F1-4C7D-B3C6-C3C3EDAA4C1E}" destId="{EECE3B9F-D56E-4A90-9635-2EE79F9A59E7}" srcOrd="0" destOrd="0" presId="urn:microsoft.com/office/officeart/2005/8/layout/process5"/>
    <dgm:cxn modelId="{D5CC5AD0-F259-4CF1-B0D3-9781D63C16D5}" type="presOf" srcId="{88A98892-D709-426F-8383-C880BB8ADB55}" destId="{CD57DA23-0CED-4E9C-B736-030D59B9C3FF}" srcOrd="0" destOrd="0" presId="urn:microsoft.com/office/officeart/2005/8/layout/process5"/>
    <dgm:cxn modelId="{39AF3C38-41EC-4A77-BC9A-4D238E332A01}" srcId="{CD7F5AAE-D9BB-4103-982A-ED54A2FAF284}" destId="{6CA91D3C-C79F-4DBA-AA5C-B9B04149E32F}" srcOrd="1" destOrd="0" parTransId="{FB9C4F66-3467-477A-837A-0402019E78F0}" sibTransId="{2E6879EF-C5A4-44C1-9F55-A8100C9049C5}"/>
    <dgm:cxn modelId="{407CAFB9-5E70-44C0-9DEC-EA644944B29D}" type="presOf" srcId="{CD7F5AAE-D9BB-4103-982A-ED54A2FAF284}" destId="{7092AEFA-C24B-4956-8807-2BA2EB9CB1BF}" srcOrd="0" destOrd="0" presId="urn:microsoft.com/office/officeart/2005/8/layout/process5"/>
    <dgm:cxn modelId="{61B08B14-36EE-4317-9E1D-8CFBF5EAF5DD}" type="presOf" srcId="{2E6879EF-C5A4-44C1-9F55-A8100C9049C5}" destId="{908610DD-7EC3-47CB-9982-FEEBAA4BFE86}" srcOrd="0" destOrd="0" presId="urn:microsoft.com/office/officeart/2005/8/layout/process5"/>
    <dgm:cxn modelId="{5EDAB9DE-7197-4843-8EAC-440C0910889D}" type="presOf" srcId="{FB00C274-1FC2-4AFE-84F0-91B5A0F2A5CD}" destId="{FA1E00B6-D066-4A86-BE65-02EC6A1C608F}" srcOrd="0" destOrd="0" presId="urn:microsoft.com/office/officeart/2005/8/layout/process5"/>
    <dgm:cxn modelId="{A4CF877A-129D-456E-9AEE-F5D316295878}" type="presOf" srcId="{781A8EDA-E308-4759-9896-6AE803C4A15A}" destId="{E905380D-F49D-412D-8B8F-3A788E726228}" srcOrd="0" destOrd="0" presId="urn:microsoft.com/office/officeart/2005/8/layout/process5"/>
    <dgm:cxn modelId="{EC6C5C98-5BDD-4309-86B3-F07E88AC0CBE}" type="presOf" srcId="{1DB4626D-7AAA-4E1F-BF7A-775B35781043}" destId="{F29A51F2-7B8E-4766-BB83-5F661AA70B89}" srcOrd="0" destOrd="0" presId="urn:microsoft.com/office/officeart/2005/8/layout/process5"/>
    <dgm:cxn modelId="{3CE1E780-150D-4162-B870-523C0F1CA272}" srcId="{CD7F5AAE-D9BB-4103-982A-ED54A2FAF284}" destId="{A4DC2A5E-2350-400F-949F-D3E9D3939552}" srcOrd="6" destOrd="0" parTransId="{1E452B31-7469-45C0-A160-DE11AB3F8C04}" sibTransId="{FB00C274-1FC2-4AFE-84F0-91B5A0F2A5CD}"/>
    <dgm:cxn modelId="{EB43F1B2-3091-45B2-A9C2-EA184A86B49B}" type="presOf" srcId="{47C6CEA3-598C-4F56-9F49-F007F8E38E0A}" destId="{F5A58A90-B04F-483A-B2B2-F83F01856055}" srcOrd="0" destOrd="0" presId="urn:microsoft.com/office/officeart/2005/8/layout/process5"/>
    <dgm:cxn modelId="{EC1B4BCF-EA92-47C2-9041-3ACAC3ECD938}" type="presOf" srcId="{2E6879EF-C5A4-44C1-9F55-A8100C9049C5}" destId="{50AFD2A6-B2E9-418E-A088-49602FB94F41}" srcOrd="1" destOrd="0" presId="urn:microsoft.com/office/officeart/2005/8/layout/process5"/>
    <dgm:cxn modelId="{D8864446-46FF-429D-ABCF-261F5C8C804E}" type="presOf" srcId="{FB00C274-1FC2-4AFE-84F0-91B5A0F2A5CD}" destId="{12FBD8F2-FB6E-4CD3-A77A-BF38A07D73B2}" srcOrd="1" destOrd="0" presId="urn:microsoft.com/office/officeart/2005/8/layout/process5"/>
    <dgm:cxn modelId="{C7855340-FF1B-4AD4-8C83-B9BF32CEC709}" type="presOf" srcId="{F6875201-EF38-4835-9131-97DFFC60D470}" destId="{E6C7FA90-6210-48FE-85C9-E0D03EFB6E43}" srcOrd="0" destOrd="0" presId="urn:microsoft.com/office/officeart/2005/8/layout/process5"/>
    <dgm:cxn modelId="{FE1F7BDA-0F94-4E5F-BFD0-F84B1931AA51}" srcId="{CD7F5AAE-D9BB-4103-982A-ED54A2FAF284}" destId="{C34A6904-6D34-4352-A554-9F660082AD58}" srcOrd="7" destOrd="0" parTransId="{C915068B-62A8-4D9B-9745-3DC6C3DC442C}" sibTransId="{AF468946-11C2-4711-9D51-F467EEEA020A}"/>
    <dgm:cxn modelId="{FE84DECC-6CBD-4C25-8F2F-D6962BEA2769}" type="presOf" srcId="{4A191A96-FC61-4C63-BEDE-83B418E85A48}" destId="{E1F5C271-1FEF-4603-8282-B59E64E87C5D}" srcOrd="0" destOrd="0" presId="urn:microsoft.com/office/officeart/2005/8/layout/process5"/>
    <dgm:cxn modelId="{00D54530-4C4A-4A9F-92C1-577BCA978C0A}" type="presOf" srcId="{C34A6904-6D34-4352-A554-9F660082AD58}" destId="{29B43512-5BC0-411A-A632-AE22FF165AAD}" srcOrd="0" destOrd="0" presId="urn:microsoft.com/office/officeart/2005/8/layout/process5"/>
    <dgm:cxn modelId="{8564EEF8-C888-4E1A-90A1-A9AECF3360A8}" srcId="{CD7F5AAE-D9BB-4103-982A-ED54A2FAF284}" destId="{88A98892-D709-426F-8383-C880BB8ADB55}" srcOrd="0" destOrd="0" parTransId="{29F44AE3-5C44-4676-9E7D-FF7E37B67D4A}" sibTransId="{66391CD0-E2F1-4C7D-B3C6-C3C3EDAA4C1E}"/>
    <dgm:cxn modelId="{523FED18-6C91-4B17-9542-C26D53189351}" srcId="{CD7F5AAE-D9BB-4103-982A-ED54A2FAF284}" destId="{C3EEAEC5-AE57-4C21-BF80-7DEFC8B057AD}" srcOrd="4" destOrd="0" parTransId="{84F0098C-1F89-4E87-8343-CAFCE242B3E9}" sibTransId="{0B0A0B68-7B6E-4AA6-9EB3-CDDA939A8F43}"/>
    <dgm:cxn modelId="{9B3673D4-937C-433B-BD6C-028883602D0D}" type="presOf" srcId="{0B0A0B68-7B6E-4AA6-9EB3-CDDA939A8F43}" destId="{20EFEAFA-2036-4694-97DC-9F5CA64CE473}" srcOrd="0" destOrd="0" presId="urn:microsoft.com/office/officeart/2005/8/layout/process5"/>
    <dgm:cxn modelId="{4771EF06-5528-411A-8D72-89385960E0B0}" type="presOf" srcId="{66391CD0-E2F1-4C7D-B3C6-C3C3EDAA4C1E}" destId="{B2B5A7B1-0F29-47E7-8BBE-63F2D57CC434}" srcOrd="1" destOrd="0" presId="urn:microsoft.com/office/officeart/2005/8/layout/process5"/>
    <dgm:cxn modelId="{FE06E62D-AFDD-424A-8A41-5222473124E9}" type="presOf" srcId="{1DB4626D-7AAA-4E1F-BF7A-775B35781043}" destId="{44192964-F41D-44AD-9A66-C04EC734FFFB}" srcOrd="1" destOrd="0" presId="urn:microsoft.com/office/officeart/2005/8/layout/process5"/>
    <dgm:cxn modelId="{82492DDF-06D7-446F-9640-84D8F1816511}" type="presOf" srcId="{B40E311B-748C-4570-9F3E-5C82CA4BE95F}" destId="{73AE2BA4-E782-49C7-97E2-70E5AEC0B720}" srcOrd="1" destOrd="0" presId="urn:microsoft.com/office/officeart/2005/8/layout/process5"/>
    <dgm:cxn modelId="{C7240645-C65A-417C-AE47-4909D562D0C1}" srcId="{CD7F5AAE-D9BB-4103-982A-ED54A2FAF284}" destId="{781A8EDA-E308-4759-9896-6AE803C4A15A}" srcOrd="2" destOrd="0" parTransId="{4AEFC47F-C857-4CBA-B96C-0D8D345FCA2C}" sibTransId="{B40E311B-748C-4570-9F3E-5C82CA4BE95F}"/>
    <dgm:cxn modelId="{BC0F5A00-78C3-43DB-B520-C2E547A2E240}" type="presOf" srcId="{B40E311B-748C-4570-9F3E-5C82CA4BE95F}" destId="{BAF8C1A4-F54F-4480-9D7F-03DBD2405136}" srcOrd="0" destOrd="0" presId="urn:microsoft.com/office/officeart/2005/8/layout/process5"/>
    <dgm:cxn modelId="{2A741CFC-15C9-41E7-8795-EB5CA5B42FCF}" srcId="{CD7F5AAE-D9BB-4103-982A-ED54A2FAF284}" destId="{4A191A96-FC61-4C63-BEDE-83B418E85A48}" srcOrd="3" destOrd="0" parTransId="{DE4064D6-D7A9-43EC-BE34-56E4ADF49EBE}" sibTransId="{F6875201-EF38-4835-9131-97DFFC60D470}"/>
    <dgm:cxn modelId="{D1D980A7-2F83-4D7C-AEB9-F22E386047FF}" srcId="{CD7F5AAE-D9BB-4103-982A-ED54A2FAF284}" destId="{47C6CEA3-598C-4F56-9F49-F007F8E38E0A}" srcOrd="5" destOrd="0" parTransId="{A4C15D40-1FC9-4C29-97B9-7E8C02838380}" sibTransId="{1DB4626D-7AAA-4E1F-BF7A-775B35781043}"/>
    <dgm:cxn modelId="{E08DEF09-F3E8-4D16-A1F8-22BC081CA2AD}" type="presOf" srcId="{0B0A0B68-7B6E-4AA6-9EB3-CDDA939A8F43}" destId="{45A6EA67-4E30-426F-8ADF-6241D49AD9FF}" srcOrd="1" destOrd="0" presId="urn:microsoft.com/office/officeart/2005/8/layout/process5"/>
    <dgm:cxn modelId="{0F3680C5-C9F3-4E76-BBE9-94670B42D213}" type="presOf" srcId="{C3EEAEC5-AE57-4C21-BF80-7DEFC8B057AD}" destId="{31153807-17B0-4D78-BE57-FDD9D0426CA0}" srcOrd="0" destOrd="0" presId="urn:microsoft.com/office/officeart/2005/8/layout/process5"/>
    <dgm:cxn modelId="{4F005468-761B-4C35-B70C-EDED38914455}" type="presOf" srcId="{6CA91D3C-C79F-4DBA-AA5C-B9B04149E32F}" destId="{A518A2C8-5172-4B76-8F08-310ECAD5DC24}" srcOrd="0" destOrd="0" presId="urn:microsoft.com/office/officeart/2005/8/layout/process5"/>
    <dgm:cxn modelId="{76D9437D-8EEC-447C-8C0D-C366B4D3BE7C}" type="presOf" srcId="{A4DC2A5E-2350-400F-949F-D3E9D3939552}" destId="{ECD66CAE-AC8A-4F95-A268-6A32B1A2D1DD}" srcOrd="0" destOrd="0" presId="urn:microsoft.com/office/officeart/2005/8/layout/process5"/>
    <dgm:cxn modelId="{E5ED52D9-4F0B-4E90-9BAA-9F8787D7055B}" type="presParOf" srcId="{7092AEFA-C24B-4956-8807-2BA2EB9CB1BF}" destId="{CD57DA23-0CED-4E9C-B736-030D59B9C3FF}" srcOrd="0" destOrd="0" presId="urn:microsoft.com/office/officeart/2005/8/layout/process5"/>
    <dgm:cxn modelId="{17A746A8-F3AE-466A-90A4-E9127FA169F3}" type="presParOf" srcId="{7092AEFA-C24B-4956-8807-2BA2EB9CB1BF}" destId="{EECE3B9F-D56E-4A90-9635-2EE79F9A59E7}" srcOrd="1" destOrd="0" presId="urn:microsoft.com/office/officeart/2005/8/layout/process5"/>
    <dgm:cxn modelId="{F031DFA5-9CC4-4973-BA84-CFDDDCD43368}" type="presParOf" srcId="{EECE3B9F-D56E-4A90-9635-2EE79F9A59E7}" destId="{B2B5A7B1-0F29-47E7-8BBE-63F2D57CC434}" srcOrd="0" destOrd="0" presId="urn:microsoft.com/office/officeart/2005/8/layout/process5"/>
    <dgm:cxn modelId="{122BC926-56E7-47CF-9855-18957F3E4988}" type="presParOf" srcId="{7092AEFA-C24B-4956-8807-2BA2EB9CB1BF}" destId="{A518A2C8-5172-4B76-8F08-310ECAD5DC24}" srcOrd="2" destOrd="0" presId="urn:microsoft.com/office/officeart/2005/8/layout/process5"/>
    <dgm:cxn modelId="{26F3CCFA-59E7-4B26-AC0A-568AA7C9EB90}" type="presParOf" srcId="{7092AEFA-C24B-4956-8807-2BA2EB9CB1BF}" destId="{908610DD-7EC3-47CB-9982-FEEBAA4BFE86}" srcOrd="3" destOrd="0" presId="urn:microsoft.com/office/officeart/2005/8/layout/process5"/>
    <dgm:cxn modelId="{04EA792F-FE09-4D59-A0C2-D78C398792E9}" type="presParOf" srcId="{908610DD-7EC3-47CB-9982-FEEBAA4BFE86}" destId="{50AFD2A6-B2E9-418E-A088-49602FB94F41}" srcOrd="0" destOrd="0" presId="urn:microsoft.com/office/officeart/2005/8/layout/process5"/>
    <dgm:cxn modelId="{9540252A-B7F6-4FEC-8366-38B18C0871AA}" type="presParOf" srcId="{7092AEFA-C24B-4956-8807-2BA2EB9CB1BF}" destId="{E905380D-F49D-412D-8B8F-3A788E726228}" srcOrd="4" destOrd="0" presId="urn:microsoft.com/office/officeart/2005/8/layout/process5"/>
    <dgm:cxn modelId="{37C52883-BE48-4B6E-8AE8-B145D1DF1DE2}" type="presParOf" srcId="{7092AEFA-C24B-4956-8807-2BA2EB9CB1BF}" destId="{BAF8C1A4-F54F-4480-9D7F-03DBD2405136}" srcOrd="5" destOrd="0" presId="urn:microsoft.com/office/officeart/2005/8/layout/process5"/>
    <dgm:cxn modelId="{EFB988EB-A56F-4D4F-A771-777D04A46B3A}" type="presParOf" srcId="{BAF8C1A4-F54F-4480-9D7F-03DBD2405136}" destId="{73AE2BA4-E782-49C7-97E2-70E5AEC0B720}" srcOrd="0" destOrd="0" presId="urn:microsoft.com/office/officeart/2005/8/layout/process5"/>
    <dgm:cxn modelId="{F56B2831-A55B-49D7-8912-CEB7B68BB89E}" type="presParOf" srcId="{7092AEFA-C24B-4956-8807-2BA2EB9CB1BF}" destId="{E1F5C271-1FEF-4603-8282-B59E64E87C5D}" srcOrd="6" destOrd="0" presId="urn:microsoft.com/office/officeart/2005/8/layout/process5"/>
    <dgm:cxn modelId="{908E929A-B39A-4D17-B048-4AED8ACC2926}" type="presParOf" srcId="{7092AEFA-C24B-4956-8807-2BA2EB9CB1BF}" destId="{E6C7FA90-6210-48FE-85C9-E0D03EFB6E43}" srcOrd="7" destOrd="0" presId="urn:microsoft.com/office/officeart/2005/8/layout/process5"/>
    <dgm:cxn modelId="{62A81DDA-3DC5-4405-B5AF-E5301986A578}" type="presParOf" srcId="{E6C7FA90-6210-48FE-85C9-E0D03EFB6E43}" destId="{7A1F22A4-697D-418A-ABDB-211899F167B3}" srcOrd="0" destOrd="0" presId="urn:microsoft.com/office/officeart/2005/8/layout/process5"/>
    <dgm:cxn modelId="{50A579FE-9297-4B7C-8251-EED85734690B}" type="presParOf" srcId="{7092AEFA-C24B-4956-8807-2BA2EB9CB1BF}" destId="{31153807-17B0-4D78-BE57-FDD9D0426CA0}" srcOrd="8" destOrd="0" presId="urn:microsoft.com/office/officeart/2005/8/layout/process5"/>
    <dgm:cxn modelId="{A41F6BEB-72A4-48C8-9EB8-47AD5AD2921E}" type="presParOf" srcId="{7092AEFA-C24B-4956-8807-2BA2EB9CB1BF}" destId="{20EFEAFA-2036-4694-97DC-9F5CA64CE473}" srcOrd="9" destOrd="0" presId="urn:microsoft.com/office/officeart/2005/8/layout/process5"/>
    <dgm:cxn modelId="{37934DCB-B96C-48B2-BC03-3400FC995769}" type="presParOf" srcId="{20EFEAFA-2036-4694-97DC-9F5CA64CE473}" destId="{45A6EA67-4E30-426F-8ADF-6241D49AD9FF}" srcOrd="0" destOrd="0" presId="urn:microsoft.com/office/officeart/2005/8/layout/process5"/>
    <dgm:cxn modelId="{0D5F4394-B368-4A80-BB95-20EC46EE90DE}" type="presParOf" srcId="{7092AEFA-C24B-4956-8807-2BA2EB9CB1BF}" destId="{F5A58A90-B04F-483A-B2B2-F83F01856055}" srcOrd="10" destOrd="0" presId="urn:microsoft.com/office/officeart/2005/8/layout/process5"/>
    <dgm:cxn modelId="{CFC7D3C2-EF66-4871-8899-832520AD81DD}" type="presParOf" srcId="{7092AEFA-C24B-4956-8807-2BA2EB9CB1BF}" destId="{F29A51F2-7B8E-4766-BB83-5F661AA70B89}" srcOrd="11" destOrd="0" presId="urn:microsoft.com/office/officeart/2005/8/layout/process5"/>
    <dgm:cxn modelId="{4F9E802F-B0BB-4AB0-ADF4-6477FDB5BAFB}" type="presParOf" srcId="{F29A51F2-7B8E-4766-BB83-5F661AA70B89}" destId="{44192964-F41D-44AD-9A66-C04EC734FFFB}" srcOrd="0" destOrd="0" presId="urn:microsoft.com/office/officeart/2005/8/layout/process5"/>
    <dgm:cxn modelId="{D8406546-6F38-49F2-BB69-FAC049506F5D}" type="presParOf" srcId="{7092AEFA-C24B-4956-8807-2BA2EB9CB1BF}" destId="{ECD66CAE-AC8A-4F95-A268-6A32B1A2D1DD}" srcOrd="12" destOrd="0" presId="urn:microsoft.com/office/officeart/2005/8/layout/process5"/>
    <dgm:cxn modelId="{A7E21CEB-6469-4A53-BA3D-75496A9D2844}" type="presParOf" srcId="{7092AEFA-C24B-4956-8807-2BA2EB9CB1BF}" destId="{FA1E00B6-D066-4A86-BE65-02EC6A1C608F}" srcOrd="13" destOrd="0" presId="urn:microsoft.com/office/officeart/2005/8/layout/process5"/>
    <dgm:cxn modelId="{FFD6AF44-3CD2-446D-9A65-3686CE7A7156}" type="presParOf" srcId="{FA1E00B6-D066-4A86-BE65-02EC6A1C608F}" destId="{12FBD8F2-FB6E-4CD3-A77A-BF38A07D73B2}" srcOrd="0" destOrd="0" presId="urn:microsoft.com/office/officeart/2005/8/layout/process5"/>
    <dgm:cxn modelId="{A4CCA5E5-373E-405B-8B71-179044B771D5}" type="presParOf" srcId="{7092AEFA-C24B-4956-8807-2BA2EB9CB1BF}" destId="{29B43512-5BC0-411A-A632-AE22FF165AAD}" srcOrd="1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57DA23-0CED-4E9C-B736-030D59B9C3FF}">
      <dsp:nvSpPr>
        <dsp:cNvPr id="0" name=""/>
        <dsp:cNvSpPr/>
      </dsp:nvSpPr>
      <dsp:spPr>
        <a:xfrm>
          <a:off x="808895" y="1047"/>
          <a:ext cx="1739949" cy="104396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Develop Application Keyword</a:t>
          </a:r>
          <a:endParaRPr lang="en-US" sz="1300" kern="1200" dirty="0"/>
        </a:p>
      </dsp:txBody>
      <dsp:txXfrm>
        <a:off x="839472" y="31624"/>
        <a:ext cx="1678795" cy="982815"/>
      </dsp:txXfrm>
    </dsp:sp>
    <dsp:sp modelId="{EECE3B9F-D56E-4A90-9635-2EE79F9A59E7}">
      <dsp:nvSpPr>
        <dsp:cNvPr id="0" name=""/>
        <dsp:cNvSpPr/>
      </dsp:nvSpPr>
      <dsp:spPr>
        <a:xfrm>
          <a:off x="2701960" y="307278"/>
          <a:ext cx="368869" cy="4315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>
        <a:off x="2701960" y="393579"/>
        <a:ext cx="258208" cy="258905"/>
      </dsp:txXfrm>
    </dsp:sp>
    <dsp:sp modelId="{A518A2C8-5172-4B76-8F08-310ECAD5DC24}">
      <dsp:nvSpPr>
        <dsp:cNvPr id="0" name=""/>
        <dsp:cNvSpPr/>
      </dsp:nvSpPr>
      <dsp:spPr>
        <a:xfrm>
          <a:off x="3244825" y="1047"/>
          <a:ext cx="1739949" cy="104396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Create Test Script / Case Excel File</a:t>
          </a:r>
          <a:endParaRPr lang="en-US" sz="1300" kern="1200" dirty="0"/>
        </a:p>
      </dsp:txBody>
      <dsp:txXfrm>
        <a:off x="3275402" y="31624"/>
        <a:ext cx="1678795" cy="982815"/>
      </dsp:txXfrm>
    </dsp:sp>
    <dsp:sp modelId="{908610DD-7EC3-47CB-9982-FEEBAA4BFE86}">
      <dsp:nvSpPr>
        <dsp:cNvPr id="0" name=""/>
        <dsp:cNvSpPr/>
      </dsp:nvSpPr>
      <dsp:spPr>
        <a:xfrm>
          <a:off x="5137890" y="307278"/>
          <a:ext cx="368869" cy="4315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>
        <a:off x="5137890" y="393579"/>
        <a:ext cx="258208" cy="258905"/>
      </dsp:txXfrm>
    </dsp:sp>
    <dsp:sp modelId="{E905380D-F49D-412D-8B8F-3A788E726228}">
      <dsp:nvSpPr>
        <dsp:cNvPr id="0" name=""/>
        <dsp:cNvSpPr/>
      </dsp:nvSpPr>
      <dsp:spPr>
        <a:xfrm>
          <a:off x="5680754" y="1047"/>
          <a:ext cx="1739949" cy="104396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Prepare Test Data</a:t>
          </a:r>
          <a:endParaRPr lang="en-US" sz="1300" kern="1200" dirty="0"/>
        </a:p>
      </dsp:txBody>
      <dsp:txXfrm>
        <a:off x="5711331" y="31624"/>
        <a:ext cx="1678795" cy="982815"/>
      </dsp:txXfrm>
    </dsp:sp>
    <dsp:sp modelId="{BAF8C1A4-F54F-4480-9D7F-03DBD2405136}">
      <dsp:nvSpPr>
        <dsp:cNvPr id="0" name=""/>
        <dsp:cNvSpPr/>
      </dsp:nvSpPr>
      <dsp:spPr>
        <a:xfrm rot="5400000">
          <a:off x="6366294" y="1166813"/>
          <a:ext cx="368869" cy="4315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 rot="-5400000">
        <a:off x="6421277" y="1198132"/>
        <a:ext cx="258905" cy="258208"/>
      </dsp:txXfrm>
    </dsp:sp>
    <dsp:sp modelId="{E1F5C271-1FEF-4603-8282-B59E64E87C5D}">
      <dsp:nvSpPr>
        <dsp:cNvPr id="0" name=""/>
        <dsp:cNvSpPr/>
      </dsp:nvSpPr>
      <dsp:spPr>
        <a:xfrm>
          <a:off x="5680754" y="1740996"/>
          <a:ext cx="1739949" cy="104396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Define Test Case Mapping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(TestCaseMapping.xlsx)</a:t>
          </a:r>
          <a:endParaRPr lang="en-US" sz="1300" kern="1200" dirty="0"/>
        </a:p>
      </dsp:txBody>
      <dsp:txXfrm>
        <a:off x="5711331" y="1771573"/>
        <a:ext cx="1678795" cy="982815"/>
      </dsp:txXfrm>
    </dsp:sp>
    <dsp:sp modelId="{E6C7FA90-6210-48FE-85C9-E0D03EFB6E43}">
      <dsp:nvSpPr>
        <dsp:cNvPr id="0" name=""/>
        <dsp:cNvSpPr/>
      </dsp:nvSpPr>
      <dsp:spPr>
        <a:xfrm rot="10800000">
          <a:off x="5158769" y="2047227"/>
          <a:ext cx="368869" cy="4315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 rot="10800000">
        <a:off x="5269430" y="2133528"/>
        <a:ext cx="258208" cy="258905"/>
      </dsp:txXfrm>
    </dsp:sp>
    <dsp:sp modelId="{31153807-17B0-4D78-BE57-FDD9D0426CA0}">
      <dsp:nvSpPr>
        <dsp:cNvPr id="0" name=""/>
        <dsp:cNvSpPr/>
      </dsp:nvSpPr>
      <dsp:spPr>
        <a:xfrm>
          <a:off x="3244825" y="1740996"/>
          <a:ext cx="1739949" cy="104396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Create Test Set/Suite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(TestExecution.xlsx)</a:t>
          </a:r>
          <a:endParaRPr lang="en-US" sz="1300" kern="1200" dirty="0"/>
        </a:p>
      </dsp:txBody>
      <dsp:txXfrm>
        <a:off x="3275402" y="1771573"/>
        <a:ext cx="1678795" cy="982815"/>
      </dsp:txXfrm>
    </dsp:sp>
    <dsp:sp modelId="{20EFEAFA-2036-4694-97DC-9F5CA64CE473}">
      <dsp:nvSpPr>
        <dsp:cNvPr id="0" name=""/>
        <dsp:cNvSpPr/>
      </dsp:nvSpPr>
      <dsp:spPr>
        <a:xfrm rot="10800000">
          <a:off x="2722840" y="2047227"/>
          <a:ext cx="368869" cy="4315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 rot="10800000">
        <a:off x="2833501" y="2133528"/>
        <a:ext cx="258208" cy="258905"/>
      </dsp:txXfrm>
    </dsp:sp>
    <dsp:sp modelId="{F5A58A90-B04F-483A-B2B2-F83F01856055}">
      <dsp:nvSpPr>
        <dsp:cNvPr id="0" name=""/>
        <dsp:cNvSpPr/>
      </dsp:nvSpPr>
      <dsp:spPr>
        <a:xfrm>
          <a:off x="808895" y="1740996"/>
          <a:ext cx="1739949" cy="104396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Setup Configuration Settings</a:t>
          </a:r>
          <a:endParaRPr lang="en-US" sz="1300" kern="1200" dirty="0"/>
        </a:p>
      </dsp:txBody>
      <dsp:txXfrm>
        <a:off x="839472" y="1771573"/>
        <a:ext cx="1678795" cy="982815"/>
      </dsp:txXfrm>
    </dsp:sp>
    <dsp:sp modelId="{F29A51F2-7B8E-4766-BB83-5F661AA70B89}">
      <dsp:nvSpPr>
        <dsp:cNvPr id="0" name=""/>
        <dsp:cNvSpPr/>
      </dsp:nvSpPr>
      <dsp:spPr>
        <a:xfrm rot="5400000">
          <a:off x="1494435" y="2906762"/>
          <a:ext cx="368869" cy="4315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 rot="-5400000">
        <a:off x="1549418" y="2938081"/>
        <a:ext cx="258905" cy="258208"/>
      </dsp:txXfrm>
    </dsp:sp>
    <dsp:sp modelId="{ECD66CAE-AC8A-4F95-A268-6A32B1A2D1DD}">
      <dsp:nvSpPr>
        <dsp:cNvPr id="0" name=""/>
        <dsp:cNvSpPr/>
      </dsp:nvSpPr>
      <dsp:spPr>
        <a:xfrm>
          <a:off x="808895" y="3480946"/>
          <a:ext cx="1739949" cy="104396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Run</a:t>
          </a:r>
          <a:endParaRPr lang="en-US" sz="1300" kern="1200" dirty="0"/>
        </a:p>
      </dsp:txBody>
      <dsp:txXfrm>
        <a:off x="839472" y="3511523"/>
        <a:ext cx="1678795" cy="982815"/>
      </dsp:txXfrm>
    </dsp:sp>
    <dsp:sp modelId="{FA1E00B6-D066-4A86-BE65-02EC6A1C608F}">
      <dsp:nvSpPr>
        <dsp:cNvPr id="0" name=""/>
        <dsp:cNvSpPr/>
      </dsp:nvSpPr>
      <dsp:spPr>
        <a:xfrm>
          <a:off x="2701960" y="3787177"/>
          <a:ext cx="368869" cy="4315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>
        <a:off x="2701960" y="3873478"/>
        <a:ext cx="258208" cy="258905"/>
      </dsp:txXfrm>
    </dsp:sp>
    <dsp:sp modelId="{29B43512-5BC0-411A-A632-AE22FF165AAD}">
      <dsp:nvSpPr>
        <dsp:cNvPr id="0" name=""/>
        <dsp:cNvSpPr/>
      </dsp:nvSpPr>
      <dsp:spPr>
        <a:xfrm>
          <a:off x="3244825" y="3480946"/>
          <a:ext cx="1739949" cy="104396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Check Test Results</a:t>
          </a:r>
          <a:endParaRPr lang="en-US" sz="1300" kern="1200" dirty="0"/>
        </a:p>
      </dsp:txBody>
      <dsp:txXfrm>
        <a:off x="3275402" y="3511523"/>
        <a:ext cx="1678795" cy="9828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A6AAFA-667D-42C1-B90A-A5E62B67B144}" type="datetimeFigureOut">
              <a:rPr lang="en-US" smtClean="0"/>
              <a:t>9/2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759F-B953-4112-92C5-C572C8B66A9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0" y="8763000"/>
            <a:ext cx="6858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100" smtClean="0">
                <a:latin typeface="Calibri"/>
                <a:sym typeface="Calibri"/>
              </a:rPr>
              <a:t>Information Classification: Limited Access</a:t>
            </a:r>
            <a:endParaRPr lang="en-US" sz="1100"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573368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2883FE-777B-4DCD-91BE-BB31B4C83187}" type="datetimeFigureOut">
              <a:rPr lang="en-US" smtClean="0"/>
              <a:t>9/2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A41727-6B1C-44C6-9621-FBBE756D9767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0" y="8763000"/>
            <a:ext cx="6858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Limited Access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1435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732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619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endParaRPr lang="en-US" dirty="0">
              <a:sym typeface="Calibri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58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4906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857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E8DA3AA-C8F3-47BD-B4C1-D0D22C4A1825}" type="slidenum">
              <a:rPr lang="en-US" altLang="en-US"/>
              <a:pPr eaLnBrk="1" hangingPunct="1">
                <a:spcBef>
                  <a:spcPct val="0"/>
                </a:spcBef>
              </a:pPr>
              <a:t>9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6599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4588" y="685800"/>
            <a:ext cx="4568825" cy="3427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707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6908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4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48056" y="6263640"/>
            <a:ext cx="66751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729871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484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9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 anchor="t"/>
          <a:lstStyle>
            <a:lvl1pPr algn="l">
              <a:defRPr sz="3300" b="0" cap="none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825496"/>
            <a:ext cx="6019800" cy="1755648"/>
          </a:xfrm>
          <a:prstGeom prst="rect">
            <a:avLst/>
          </a:prstGeo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4048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/>
            </a:lvl2pPr>
            <a:lvl3pPr marL="914400" indent="0">
              <a:buFontTx/>
              <a:buNone/>
              <a:defRPr sz="100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73929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Global Exch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449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92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 anchor="t"/>
          <a:lstStyle>
            <a:lvl1pPr algn="l">
              <a:defRPr sz="3300" b="0" cap="none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825496"/>
            <a:ext cx="6019800" cy="1755648"/>
          </a:xfrm>
          <a:prstGeom prst="rect">
            <a:avLst/>
          </a:prstGeo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4048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rgbClr val="969696"/>
                </a:solidFill>
              </a:defRPr>
            </a:lvl2pPr>
            <a:lvl3pPr marL="914400" indent="0">
              <a:buFontTx/>
              <a:buNone/>
              <a:defRPr sz="1000">
                <a:solidFill>
                  <a:srgbClr val="969696"/>
                </a:solidFill>
              </a:defRPr>
            </a:lvl3pPr>
            <a:lvl4pPr marL="1371600" indent="0">
              <a:buFontTx/>
              <a:buNone/>
              <a:defRPr sz="1000">
                <a:solidFill>
                  <a:srgbClr val="969696"/>
                </a:solidFill>
              </a:defRPr>
            </a:lvl4pPr>
            <a:lvl5pPr marL="1828800" indent="0">
              <a:buFontTx/>
              <a:buNone/>
              <a:defRPr sz="1000">
                <a:solidFill>
                  <a:srgbClr val="96969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4090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Global Mark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7337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6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 anchor="t"/>
          <a:lstStyle>
            <a:lvl1pPr algn="l">
              <a:defRPr sz="3300" b="0" cap="none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825496"/>
            <a:ext cx="6019800" cy="1755648"/>
          </a:xfrm>
          <a:prstGeom prst="rect">
            <a:avLst/>
          </a:prstGeo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4048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rgbClr val="969696"/>
                </a:solidFill>
              </a:defRPr>
            </a:lvl2pPr>
            <a:lvl3pPr marL="914400" indent="0">
              <a:buFontTx/>
              <a:buNone/>
              <a:defRPr sz="1000">
                <a:solidFill>
                  <a:srgbClr val="969696"/>
                </a:solidFill>
              </a:defRPr>
            </a:lvl3pPr>
            <a:lvl4pPr marL="1371600" indent="0">
              <a:buFontTx/>
              <a:buNone/>
              <a:defRPr sz="1000">
                <a:solidFill>
                  <a:srgbClr val="969696"/>
                </a:solidFill>
              </a:defRPr>
            </a:lvl4pPr>
            <a:lvl5pPr marL="1828800" indent="0">
              <a:buFontTx/>
              <a:buNone/>
              <a:defRPr sz="1000">
                <a:solidFill>
                  <a:srgbClr val="96969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74775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Global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52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9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 anchor="t"/>
          <a:lstStyle>
            <a:lvl1pPr algn="l">
              <a:defRPr sz="3300" b="0" cap="none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825496"/>
            <a:ext cx="6019800" cy="1755648"/>
          </a:xfrm>
          <a:prstGeom prst="rect">
            <a:avLst/>
          </a:prstGeo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4048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rgbClr val="969696"/>
                </a:solidFill>
              </a:defRPr>
            </a:lvl2pPr>
            <a:lvl3pPr marL="914400" indent="0">
              <a:buFontTx/>
              <a:buNone/>
              <a:defRPr sz="1000">
                <a:solidFill>
                  <a:srgbClr val="969696"/>
                </a:solidFill>
              </a:defRPr>
            </a:lvl3pPr>
            <a:lvl4pPr marL="1371600" indent="0">
              <a:buFontTx/>
              <a:buNone/>
              <a:defRPr sz="1000">
                <a:solidFill>
                  <a:srgbClr val="969696"/>
                </a:solidFill>
              </a:defRPr>
            </a:lvl4pPr>
            <a:lvl5pPr marL="1828800" indent="0">
              <a:buFontTx/>
              <a:buNone/>
              <a:defRPr sz="1000">
                <a:solidFill>
                  <a:srgbClr val="96969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55215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667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4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9" y="381000"/>
            <a:ext cx="82265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2296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50057" y="6300596"/>
            <a:ext cx="457200" cy="2468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/>
            <a:fld id="{750EAF8F-C89C-4E34-86B5-CE7BA5071914}" type="slidenum">
              <a:rPr lang="en-US" sz="1000" smtClean="0">
                <a:solidFill>
                  <a:schemeClr val="accent5"/>
                </a:solidFill>
              </a:rPr>
              <a:pPr lvl="0"/>
              <a:t>‹#›</a:t>
            </a:fld>
            <a:endParaRPr lang="en-US" sz="100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43075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0168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6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9" y="381000"/>
            <a:ext cx="82265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2296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50057" y="6300596"/>
            <a:ext cx="457200" cy="2468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/>
            <a:fld id="{750EAF8F-C89C-4E34-86B5-CE7BA5071914}" type="slidenum">
              <a:rPr lang="en-US" sz="1000" smtClean="0">
                <a:solidFill>
                  <a:schemeClr val="accent5"/>
                </a:solidFill>
              </a:rPr>
              <a:pPr lvl="0"/>
              <a:t>‹#›</a:t>
            </a:fld>
            <a:endParaRPr lang="en-US" sz="100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41402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Col Page w/ Lin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57846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5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94"/>
          <a:stretch/>
        </p:blipFill>
        <p:spPr>
          <a:xfrm>
            <a:off x="5705340" y="0"/>
            <a:ext cx="343865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229600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4572000" cy="4525963"/>
          </a:xfrm>
          <a:prstGeom prst="rect">
            <a:avLst/>
          </a:prstGeom>
        </p:spPr>
        <p:txBody>
          <a:bodyPr lIns="0">
            <a:noAutofit/>
          </a:bodyPr>
          <a:lstStyle>
            <a:lvl1pPr marL="166688" indent="-16668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2296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50057" y="6300596"/>
            <a:ext cx="457200" cy="24438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/>
            <a:fld id="{5C6C4BF5-0C4C-4AC1-A88F-FB1A83C8E4C2}" type="slidenum">
              <a:rPr lang="en-US" sz="1000" smtClean="0">
                <a:solidFill>
                  <a:schemeClr val="accent5"/>
                </a:solidFill>
              </a:rPr>
              <a:pPr lvl="0"/>
              <a:t>‹#›</a:t>
            </a:fld>
            <a:endParaRPr lang="en-US" sz="1000" dirty="0" smtClean="0">
              <a:solidFill>
                <a:schemeClr val="accent5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9013" y="6273380"/>
            <a:ext cx="1369216" cy="214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4652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4554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8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9" y="381000"/>
            <a:ext cx="82265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2296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50057" y="6300596"/>
            <a:ext cx="457200" cy="2468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/>
            <a:fld id="{750EAF8F-C89C-4E34-86B5-CE7BA5071914}" type="slidenum">
              <a:rPr lang="en-US" sz="1000" smtClean="0">
                <a:solidFill>
                  <a:schemeClr val="accent5"/>
                </a:solidFill>
              </a:rPr>
              <a:pPr lvl="0"/>
              <a:t>‹#›</a:t>
            </a:fld>
            <a:endParaRPr lang="en-US" sz="100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78721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464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2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9" y="381000"/>
            <a:ext cx="82265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2296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50057" y="6300596"/>
            <a:ext cx="457200" cy="2468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/>
            <a:fld id="{750EAF8F-C89C-4E34-86B5-CE7BA5071914}" type="slidenum">
              <a:rPr lang="en-US" sz="1000" smtClean="0">
                <a:solidFill>
                  <a:schemeClr val="accent5"/>
                </a:solidFill>
              </a:rPr>
              <a:pPr lvl="0"/>
              <a:t>‹#›</a:t>
            </a:fld>
            <a:endParaRPr lang="en-US" sz="100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9476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498208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4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9" y="381000"/>
            <a:ext cx="82265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2296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50057" y="6300596"/>
            <a:ext cx="457200" cy="2468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fld id="{750EAF8F-C89C-4E34-86B5-CE7BA5071914}" type="slidenum">
              <a:rPr lang="en-US" sz="1000" smtClean="0">
                <a:solidFill>
                  <a:srgbClr val="A5A5A5"/>
                </a:solidFill>
              </a:rPr>
              <a:pPr/>
              <a:t>‹#›</a:t>
            </a:fld>
            <a:endParaRPr lang="en-US" sz="1000" dirty="0" smtClean="0">
              <a:solidFill>
                <a:srgbClr val="A5A5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12988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Global Exch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06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01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48056" y="6263640"/>
            <a:ext cx="66751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112880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979290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7269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229600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  <a:prstGeom prst="rect">
            <a:avLst/>
          </a:prstGeom>
        </p:spPr>
        <p:txBody>
          <a:bodyPr lIns="0">
            <a:noAutofit/>
          </a:bodyPr>
          <a:lstStyle>
            <a:lvl1pPr marL="166688" indent="-16668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229600" cy="21945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48056" y="6300216"/>
            <a:ext cx="457200" cy="2468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l"/>
            <a:fld id="{0414EECA-9A6C-40E1-AC71-398B096ADC80}" type="slidenum">
              <a:rPr lang="en-US" sz="1000" smtClean="0">
                <a:solidFill>
                  <a:schemeClr val="accent5"/>
                </a:solidFill>
              </a:rPr>
              <a:pPr algn="l"/>
              <a:t>‹#›</a:t>
            </a:fld>
            <a:endParaRPr lang="en-US" sz="100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56455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Global Mark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9003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8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48056" y="6263640"/>
            <a:ext cx="66751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758151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Global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412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2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48056" y="6263640"/>
            <a:ext cx="66751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803349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606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80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0">
            <a:normAutofit/>
          </a:bodyPr>
          <a:lstStyle>
            <a:lvl1pPr marL="166688" indent="-16668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19206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055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51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19207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Page_Line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208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4604197" cy="4525963"/>
          </a:xfrm>
          <a:prstGeom prst="rect">
            <a:avLst/>
          </a:prstGeom>
        </p:spPr>
        <p:txBody>
          <a:bodyPr lIns="0">
            <a:normAutofit/>
          </a:bodyPr>
          <a:lstStyle>
            <a:lvl1pPr marL="166688" indent="-16668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62000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02335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io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6600" y="1600200"/>
            <a:ext cx="54102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7200" y="3505200"/>
            <a:ext cx="22860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57200" y="3729722"/>
            <a:ext cx="2286000" cy="30583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400">
                <a:solidFill>
                  <a:schemeClr val="accent1"/>
                </a:solidFill>
              </a:defRPr>
            </a:lvl1pPr>
            <a:lvl2pPr marL="457200" indent="0" algn="ctr">
              <a:buFontTx/>
              <a:buNone/>
              <a:defRPr sz="1400">
                <a:solidFill>
                  <a:schemeClr val="accent1"/>
                </a:solidFill>
              </a:defRPr>
            </a:lvl2pPr>
            <a:lvl3pPr marL="914400" indent="0" algn="ctr">
              <a:buFontTx/>
              <a:buNone/>
              <a:defRPr sz="1400">
                <a:solidFill>
                  <a:schemeClr val="accent1"/>
                </a:solidFill>
              </a:defRPr>
            </a:lvl3pPr>
            <a:lvl4pPr marL="1371600" indent="0" algn="ctr">
              <a:buFontTx/>
              <a:buNone/>
              <a:defRPr sz="1400">
                <a:solidFill>
                  <a:schemeClr val="accent1"/>
                </a:solidFill>
              </a:defRPr>
            </a:lvl4pPr>
            <a:lvl5pPr marL="1828800" indent="0" algn="ctr">
              <a:buFontTx/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45158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Bio'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6600" y="1600201"/>
            <a:ext cx="5410200" cy="1981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7200" y="2971800"/>
            <a:ext cx="2286000" cy="1524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050" b="1">
                <a:solidFill>
                  <a:schemeClr val="bg2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57200" y="3124200"/>
            <a:ext cx="2286000" cy="30583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050">
                <a:solidFill>
                  <a:schemeClr val="accent1"/>
                </a:solidFill>
              </a:defRPr>
            </a:lvl1pPr>
            <a:lvl2pPr marL="457200" indent="0" algn="ctr">
              <a:buFontTx/>
              <a:buNone/>
              <a:defRPr sz="1400">
                <a:solidFill>
                  <a:schemeClr val="accent1"/>
                </a:solidFill>
              </a:defRPr>
            </a:lvl2pPr>
            <a:lvl3pPr marL="914400" indent="0" algn="ctr">
              <a:buFontTx/>
              <a:buNone/>
              <a:defRPr sz="1400">
                <a:solidFill>
                  <a:schemeClr val="accent1"/>
                </a:solidFill>
              </a:defRPr>
            </a:lvl3pPr>
            <a:lvl4pPr marL="1371600" indent="0" algn="ctr">
              <a:buFontTx/>
              <a:buNone/>
              <a:defRPr sz="1400">
                <a:solidFill>
                  <a:schemeClr val="accent1"/>
                </a:solidFill>
              </a:defRPr>
            </a:lvl4pPr>
            <a:lvl5pPr marL="1828800" indent="0" algn="ctr">
              <a:buFontTx/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70953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853093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" name="think-cell Slide" r:id="rId25" imgW="572" imgH="429" progId="TCLayout.ActiveDocument.1">
                  <p:embed/>
                </p:oleObj>
              </mc:Choice>
              <mc:Fallback>
                <p:oleObj name="think-cell Slide" r:id="rId25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0" y="6477000"/>
            <a:ext cx="9144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Limited Access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" name="fl" descr="State Street: Company Internal"/>
          <p:cNvSpPr txBox="1"/>
          <p:nvPr userDrawn="1"/>
        </p:nvSpPr>
        <p:spPr>
          <a:xfrm>
            <a:off x="0" y="65151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00" b="0" i="0" u="none" baseline="0" smtClean="0">
                <a:solidFill>
                  <a:srgbClr val="000000"/>
                </a:solidFill>
                <a:latin typeface="arial"/>
              </a:rPr>
              <a:t>State Street: Company Internal</a:t>
            </a:r>
            <a:endParaRPr lang="en-US" sz="1000" b="0" i="0" u="none" baseline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3467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81" r:id="rId2"/>
    <p:sldLayoutId id="2147483669" r:id="rId3"/>
    <p:sldLayoutId id="2147483670" r:id="rId4"/>
    <p:sldLayoutId id="2147483650" r:id="rId5"/>
    <p:sldLayoutId id="2147483680" r:id="rId6"/>
    <p:sldLayoutId id="2147483676" r:id="rId7"/>
    <p:sldLayoutId id="2147483677" r:id="rId8"/>
    <p:sldLayoutId id="2147483679" r:id="rId9"/>
    <p:sldLayoutId id="2147483651" r:id="rId10"/>
    <p:sldLayoutId id="2147483671" r:id="rId11"/>
    <p:sldLayoutId id="2147483672" r:id="rId12"/>
    <p:sldLayoutId id="2147483673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90" r:id="rId19"/>
    <p:sldLayoutId id="2147483691" r:id="rId20"/>
    <p:sldLayoutId id="2147483692" r:id="rId2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collaborate.statestr.com/sites/GQS/SitePages/SQE3.aspx?RootFolder=/sites/GQS/SQE%20Team%20Documents/GQS%20Framework%20Artifacts&amp;FolderCTID=0x012000F9960FF8839EAA43AC733B39D4AAC392&amp;View=%7b065B4EA9-CBC0-4005-8E2F-D82CA39775E8%7d" TargetMode="Externa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ollaborate.statestr.com/sites/GQS/Lists/Framework_backlog/AllItems.aspx" TargetMode="External"/><Relationship Id="rId2" Type="http://schemas.openxmlformats.org/officeDocument/2006/relationships/hyperlink" Target="mailto:AutomationCoreTeam@StateStreet.com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8.tmp"/><Relationship Id="rId5" Type="http://schemas.openxmlformats.org/officeDocument/2006/relationships/image" Target="../media/image27.tmp"/><Relationship Id="rId4" Type="http://schemas.openxmlformats.org/officeDocument/2006/relationships/hyperlink" Target="https://collaborate.statestr.com/sites/GQS/Lists/Framework_issue/AllItems.aspx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hyperlink" Target="https://www.google.com/url?sa=i&amp;rct=j&amp;q=&amp;esrc=s&amp;source=images&amp;cd=&amp;cad=rja&amp;uact=8&amp;ved=0ahUKEwjUvPPewIjQAhVs34MKHbrFAPEQjRwIBw&amp;url=https://commons.wikimedia.org/wiki/File:Uft.png&amp;psig=AFQjCNEX0Hram5Gt5XP7q7ybkSe2p9mgTQ&amp;ust=1478122283490446" TargetMode="External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png"/><Relationship Id="rId5" Type="http://schemas.openxmlformats.org/officeDocument/2006/relationships/hyperlink" Target="http://www.google.com/url?sa=i&amp;rct=j&amp;q=&amp;esrc=s&amp;source=images&amp;cd=&amp;cad=rja&amp;uact=8&amp;ved=0ahUKEwifv53okqHQAhUJxoMKHR7QA2YQjRwIBw&amp;url=http://docs.seleniumhq.org/&amp;bvm=bv.138169073,d.amc&amp;psig=AFQjCNEyqNiKal0K6bSSy29zYz1gNepArA&amp;ust=1478968943713795" TargetMode="External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hyperlink" Target="https://www.google.com/url?sa=i&amp;rct=j&amp;q=&amp;esrc=s&amp;source=images&amp;cd=&amp;cad=rja&amp;uact=8&amp;ved=0ahUKEwjUvPPewIjQAhVs34MKHbrFAPEQjRwIBw&amp;url=https://commons.wikimedia.org/wiki/File:Uft.png&amp;psig=AFQjCNEX0Hram5Gt5XP7q7ybkSe2p9mgTQ&amp;ust=1478122283490446" TargetMode="External"/><Relationship Id="rId7" Type="http://schemas.openxmlformats.org/officeDocument/2006/relationships/hyperlink" Target="http://www.google.com/url?sa=i&amp;rct=j&amp;q=&amp;esrc=s&amp;source=images&amp;cd=&amp;cad=rja&amp;uact=8&amp;ved=0ahUKEwifv53okqHQAhUJxoMKHR7QA2YQjRwIBw&amp;url=http://docs.seleniumhq.org/&amp;bvm=bv.138169073,d.amc&amp;psig=AFQjCNEyqNiKal0K6bSSy29zYz1gNepArA&amp;ust=1478968943713795" TargetMode="External"/><Relationship Id="rId2" Type="http://schemas.openxmlformats.org/officeDocument/2006/relationships/image" Target="../media/image19.tmp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1.png"/><Relationship Id="rId5" Type="http://schemas.openxmlformats.org/officeDocument/2006/relationships/hyperlink" Target="http://www.google.com/url?sa=i&amp;rct=j&amp;q=&amp;esrc=s&amp;source=images&amp;cd=&amp;cad=rja&amp;uact=8&amp;ved=0ahUKEwj696PywIjQAhWl44MKHSYlBngQjRwIBw&amp;url=http://allaboutsoftwaretools.com/ranorex/&amp;bvm=bv.137132246,d.amc&amp;psig=AFQjCNGHtCLDiXnzz1TQVgUbjG-DRZgHNA&amp;ust=1478122313773373" TargetMode="External"/><Relationship Id="rId4" Type="http://schemas.openxmlformats.org/officeDocument/2006/relationships/image" Target="../media/image20.png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3.xml"/><Relationship Id="rId7" Type="http://schemas.openxmlformats.org/officeDocument/2006/relationships/image" Target="../media/image2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57200" y="762000"/>
            <a:ext cx="7086600" cy="1548384"/>
          </a:xfrm>
        </p:spPr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GQS Automation Framework Overview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457200" y="3048000"/>
            <a:ext cx="6019800" cy="1295400"/>
          </a:xfrm>
        </p:spPr>
        <p:txBody>
          <a:bodyPr/>
          <a:lstStyle/>
          <a:p>
            <a:r>
              <a:rPr lang="en-US" dirty="0" smtClean="0"/>
              <a:t>Global </a:t>
            </a:r>
            <a:r>
              <a:rPr lang="en-US" dirty="0"/>
              <a:t>Quality Solution (GQS) Automation Team</a:t>
            </a:r>
          </a:p>
          <a:p>
            <a:endParaRPr lang="en-US" dirty="0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Information Classification – Company Internal</a:t>
            </a:r>
            <a:endParaRPr lang="en-US" dirty="0"/>
          </a:p>
        </p:txBody>
      </p:sp>
      <p:sp>
        <p:nvSpPr>
          <p:cNvPr id="2" name="Oval 1"/>
          <p:cNvSpPr/>
          <p:nvPr/>
        </p:nvSpPr>
        <p:spPr>
          <a:xfrm>
            <a:off x="6324600" y="1888622"/>
            <a:ext cx="1819656" cy="1819656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2971800" y="4648200"/>
            <a:ext cx="1371600" cy="100584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81998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GQSFramework</a:t>
            </a:r>
            <a:r>
              <a:rPr lang="en-US" dirty="0" smtClean="0"/>
              <a:t> Development Modal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80850392"/>
              </p:ext>
            </p:extLst>
          </p:nvPr>
        </p:nvGraphicFramePr>
        <p:xfrm>
          <a:off x="533400" y="13716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ACCCA-BA74-4365-B59A-A0032200AB59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853937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2812485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think-cell Slide" r:id="rId5" imgW="572" imgH="429" progId="TCLayout.ActiveDocument.1">
                  <p:embed/>
                </p:oleObj>
              </mc:Choice>
              <mc:Fallback>
                <p:oleObj name="think-cell Slide" r:id="rId5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8" name="Group 157"/>
          <p:cNvGrpSpPr/>
          <p:nvPr/>
        </p:nvGrpSpPr>
        <p:grpSpPr>
          <a:xfrm>
            <a:off x="6743325" y="2361216"/>
            <a:ext cx="990933" cy="1482064"/>
            <a:chOff x="5318125" y="4000329"/>
            <a:chExt cx="990933" cy="2095673"/>
          </a:xfrm>
        </p:grpSpPr>
        <p:cxnSp>
          <p:nvCxnSpPr>
            <p:cNvPr id="159" name="Straight Connector 158"/>
            <p:cNvCxnSpPr/>
            <p:nvPr/>
          </p:nvCxnSpPr>
          <p:spPr>
            <a:xfrm flipV="1">
              <a:off x="5318125" y="4000329"/>
              <a:ext cx="0" cy="2095673"/>
            </a:xfrm>
            <a:prstGeom prst="line">
              <a:avLst/>
            </a:prstGeom>
            <a:ln w="3175" cmpd="sng">
              <a:solidFill>
                <a:srgbClr val="E4782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0" name="TextBox 49"/>
            <p:cNvSpPr txBox="1">
              <a:spLocks noChangeArrowheads="1"/>
            </p:cNvSpPr>
            <p:nvPr/>
          </p:nvSpPr>
          <p:spPr bwMode="auto">
            <a:xfrm>
              <a:off x="5375275" y="4077912"/>
              <a:ext cx="933783" cy="652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b" anchorCtr="0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>
                  <a:srgbClr val="0055AD"/>
                </a:buClr>
              </a:pPr>
              <a:r>
                <a:rPr lang="en-US" sz="800" dirty="0" smtClean="0">
                  <a:solidFill>
                    <a:schemeClr val="accent5">
                      <a:lumMod val="75000"/>
                    </a:schemeClr>
                  </a:solidFill>
                  <a:ea typeface="ＭＳ Ｐゴシック" pitchFamily="34" charset="-128"/>
                </a:rPr>
                <a:t>10/9</a:t>
              </a:r>
            </a:p>
            <a:p>
              <a:pPr eaLnBrk="1" hangingPunct="1">
                <a:buClr>
                  <a:srgbClr val="0055AD"/>
                </a:buClr>
              </a:pPr>
              <a:r>
                <a:rPr lang="en-US" sz="800" dirty="0" smtClean="0">
                  <a:solidFill>
                    <a:schemeClr val="accent5">
                      <a:lumMod val="75000"/>
                    </a:schemeClr>
                  </a:solidFill>
                  <a:ea typeface="ＭＳ Ｐゴシック" pitchFamily="34" charset="-128"/>
                </a:rPr>
                <a:t>Framework Version 1.2</a:t>
              </a:r>
              <a:endParaRPr lang="en-US" sz="800" dirty="0">
                <a:solidFill>
                  <a:schemeClr val="accent5">
                    <a:lumMod val="75000"/>
                  </a:schemeClr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1069519" y="2416382"/>
            <a:ext cx="2824929" cy="780460"/>
            <a:chOff x="1069517" y="2908512"/>
            <a:chExt cx="2824929" cy="780460"/>
          </a:xfrm>
        </p:grpSpPr>
        <p:sp>
          <p:nvSpPr>
            <p:cNvPr id="24614" name="TextBox 16"/>
            <p:cNvSpPr txBox="1">
              <a:spLocks noChangeArrowheads="1"/>
            </p:cNvSpPr>
            <p:nvPr/>
          </p:nvSpPr>
          <p:spPr bwMode="auto">
            <a:xfrm>
              <a:off x="1069517" y="2908512"/>
              <a:ext cx="99270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rIns="0" bIns="0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sz="1200" dirty="0" smtClean="0">
                  <a:solidFill>
                    <a:srgbClr val="000000"/>
                  </a:solidFill>
                  <a:ea typeface="ＭＳ Ｐゴシック" pitchFamily="34" charset="-128"/>
                </a:rPr>
                <a:t>2017 Q1</a:t>
              </a:r>
              <a:endParaRPr lang="en-US" sz="1200" dirty="0" smtClean="0">
                <a:solidFill>
                  <a:srgbClr val="A5A5A5"/>
                </a:solidFill>
                <a:ea typeface="ＭＳ Ｐゴシック" pitchFamily="34" charset="-128"/>
              </a:endParaRPr>
            </a:p>
          </p:txBody>
        </p:sp>
        <p:sp>
          <p:nvSpPr>
            <p:cNvPr id="24617" name="TextBox 19"/>
            <p:cNvSpPr txBox="1">
              <a:spLocks noChangeArrowheads="1"/>
            </p:cNvSpPr>
            <p:nvPr/>
          </p:nvSpPr>
          <p:spPr bwMode="auto">
            <a:xfrm>
              <a:off x="2901741" y="3504306"/>
              <a:ext cx="99270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rIns="0" bIns="0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sz="1200" dirty="0" smtClean="0">
                  <a:solidFill>
                    <a:srgbClr val="000000"/>
                  </a:solidFill>
                  <a:ea typeface="ＭＳ Ｐゴシック" pitchFamily="34" charset="-128"/>
                </a:rPr>
                <a:t>2017 Q2</a:t>
              </a:r>
              <a:endParaRPr lang="en-US" sz="1200" dirty="0" smtClean="0">
                <a:solidFill>
                  <a:srgbClr val="A5A5A5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4628" name="TextBox 85"/>
          <p:cNvSpPr txBox="1">
            <a:spLocks noChangeArrowheads="1"/>
          </p:cNvSpPr>
          <p:nvPr/>
        </p:nvSpPr>
        <p:spPr bwMode="auto">
          <a:xfrm>
            <a:off x="5248376" y="3608157"/>
            <a:ext cx="99270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dirty="0" smtClean="0">
                <a:solidFill>
                  <a:srgbClr val="000000"/>
                </a:solidFill>
                <a:ea typeface="ＭＳ Ｐゴシック" pitchFamily="34" charset="-128"/>
              </a:rPr>
              <a:t>2017 Q3</a:t>
            </a:r>
            <a:endParaRPr lang="en-US" sz="1200" dirty="0" smtClean="0">
              <a:solidFill>
                <a:srgbClr val="A5A5A5"/>
              </a:solidFill>
              <a:ea typeface="ＭＳ Ｐゴシック" pitchFamily="34" charset="-128"/>
            </a:endParaRPr>
          </a:p>
        </p:txBody>
      </p:sp>
      <p:grpSp>
        <p:nvGrpSpPr>
          <p:cNvPr id="138" name="Group 137"/>
          <p:cNvGrpSpPr/>
          <p:nvPr/>
        </p:nvGrpSpPr>
        <p:grpSpPr>
          <a:xfrm>
            <a:off x="4572002" y="1598647"/>
            <a:ext cx="1021525" cy="1635471"/>
            <a:chOff x="6613525" y="2192340"/>
            <a:chExt cx="1687902" cy="1844200"/>
          </a:xfrm>
        </p:grpSpPr>
        <p:cxnSp>
          <p:nvCxnSpPr>
            <p:cNvPr id="148" name="Straight Connector 147"/>
            <p:cNvCxnSpPr/>
            <p:nvPr/>
          </p:nvCxnSpPr>
          <p:spPr>
            <a:xfrm flipV="1">
              <a:off x="6613525" y="2192340"/>
              <a:ext cx="0" cy="1844200"/>
            </a:xfrm>
            <a:prstGeom prst="line">
              <a:avLst/>
            </a:prstGeom>
            <a:ln w="317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TextBox 49"/>
            <p:cNvSpPr txBox="1">
              <a:spLocks noChangeArrowheads="1"/>
            </p:cNvSpPr>
            <p:nvPr/>
          </p:nvSpPr>
          <p:spPr bwMode="auto">
            <a:xfrm>
              <a:off x="6647098" y="2420601"/>
              <a:ext cx="1654329" cy="520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>
                  <a:srgbClr val="0055AD"/>
                </a:buClr>
              </a:pPr>
              <a:r>
                <a:rPr lang="en-US" sz="800" dirty="0" smtClean="0">
                  <a:solidFill>
                    <a:schemeClr val="accent2"/>
                  </a:solidFill>
                  <a:ea typeface="ＭＳ Ｐゴシック" pitchFamily="34" charset="-128"/>
                </a:rPr>
                <a:t>6/30</a:t>
              </a:r>
            </a:p>
            <a:p>
              <a:pPr eaLnBrk="1" hangingPunct="1">
                <a:buClr>
                  <a:srgbClr val="0055AD"/>
                </a:buClr>
              </a:pPr>
              <a:r>
                <a:rPr lang="en-US" sz="800" dirty="0" smtClean="0">
                  <a:solidFill>
                    <a:schemeClr val="accent2"/>
                  </a:solidFill>
                  <a:ea typeface="ＭＳ Ｐゴシック" pitchFamily="34" charset="-128"/>
                </a:rPr>
                <a:t>Framework Version 1.1</a:t>
              </a:r>
            </a:p>
          </p:txBody>
        </p:sp>
      </p:grpSp>
      <p:sp>
        <p:nvSpPr>
          <p:cNvPr id="83" name="TextBox 82"/>
          <p:cNvSpPr txBox="1"/>
          <p:nvPr/>
        </p:nvSpPr>
        <p:spPr>
          <a:xfrm>
            <a:off x="698712" y="4985109"/>
            <a:ext cx="2095500" cy="807044"/>
          </a:xfrm>
          <a:prstGeom prst="rect">
            <a:avLst/>
          </a:prstGeom>
          <a:noFill/>
        </p:spPr>
        <p:txBody>
          <a:bodyPr tIns="0" rIns="0" bIns="0" numCol="1">
            <a:noAutofit/>
          </a:bodyPr>
          <a:lstStyle/>
          <a:p>
            <a:pPr marL="187325" indent="-206375">
              <a:buFont typeface="Wingdings" charset="0"/>
              <a:buChar char="£"/>
              <a:tabLst>
                <a:tab pos="171450" algn="l"/>
              </a:tabLst>
              <a:defRPr/>
            </a:pPr>
            <a:r>
              <a:rPr lang="en-US" sz="1100" dirty="0" smtClean="0">
                <a:solidFill>
                  <a:schemeClr val="accent2">
                    <a:lumMod val="50000"/>
                  </a:schemeClr>
                </a:solidFill>
                <a:ea typeface="ＭＳ Ｐゴシック" charset="0"/>
                <a:cs typeface="ＭＳ Ｐゴシック" charset="0"/>
              </a:rPr>
              <a:t>Phase 1 </a:t>
            </a:r>
          </a:p>
          <a:p>
            <a:pPr marL="187325" indent="-206375">
              <a:buFont typeface="Wingdings" charset="0"/>
              <a:buChar char="£"/>
              <a:tabLst>
                <a:tab pos="171450" algn="l"/>
              </a:tabLst>
              <a:defRPr/>
            </a:pPr>
            <a:r>
              <a:rPr lang="en-US" sz="1100" dirty="0" smtClean="0">
                <a:solidFill>
                  <a:srgbClr val="00AE79"/>
                </a:solidFill>
                <a:ea typeface="ＭＳ Ｐゴシック" charset="0"/>
                <a:cs typeface="ＭＳ Ｐゴシック" charset="0"/>
              </a:rPr>
              <a:t>Phase 2</a:t>
            </a:r>
          </a:p>
          <a:p>
            <a:pPr marL="187325" indent="-206375">
              <a:buFont typeface="Wingdings" charset="0"/>
              <a:buChar char="£"/>
              <a:tabLst>
                <a:tab pos="171450" algn="l"/>
              </a:tabLst>
              <a:defRPr/>
            </a:pPr>
            <a:r>
              <a:rPr lang="en-US" sz="1100" dirty="0" smtClean="0">
                <a:solidFill>
                  <a:schemeClr val="accent1">
                    <a:lumMod val="60000"/>
                    <a:lumOff val="40000"/>
                  </a:schemeClr>
                </a:solidFill>
                <a:ea typeface="ＭＳ Ｐゴシック" charset="0"/>
                <a:cs typeface="ＭＳ Ｐゴシック" charset="0"/>
              </a:rPr>
              <a:t>Phase 3</a:t>
            </a:r>
          </a:p>
          <a:p>
            <a:pPr marL="187325" indent="-206375">
              <a:buFont typeface="Wingdings" charset="0"/>
              <a:buChar char="£"/>
              <a:tabLst>
                <a:tab pos="171450" algn="l"/>
              </a:tabLst>
              <a:defRPr/>
            </a:pP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ea typeface="ＭＳ Ｐゴシック" charset="0"/>
                <a:cs typeface="ＭＳ Ｐゴシック" charset="0"/>
              </a:rPr>
              <a:t>Future Plan</a:t>
            </a:r>
            <a:endParaRPr lang="en-US" sz="1100" dirty="0">
              <a:solidFill>
                <a:schemeClr val="bg1">
                  <a:lumMod val="50000"/>
                </a:schemeClr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92" name="Chevron 44"/>
          <p:cNvSpPr>
            <a:spLocks noChangeArrowheads="1"/>
          </p:cNvSpPr>
          <p:nvPr/>
        </p:nvSpPr>
        <p:spPr bwMode="auto">
          <a:xfrm>
            <a:off x="6609958" y="3852506"/>
            <a:ext cx="2256948" cy="271333"/>
          </a:xfrm>
          <a:prstGeom prst="chevron">
            <a:avLst>
              <a:gd name="adj" fmla="val 50144"/>
            </a:avLst>
          </a:prstGeom>
          <a:solidFill>
            <a:schemeClr val="accent5"/>
          </a:solidFill>
          <a:ln w="9525" algn="ctr">
            <a:solidFill>
              <a:schemeClr val="accent5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900" dirty="0" smtClean="0">
                <a:solidFill>
                  <a:srgbClr val="FFFFFF"/>
                </a:solidFill>
              </a:rPr>
              <a:t>GQS Automation</a:t>
            </a:r>
          </a:p>
          <a:p>
            <a:pPr algn="ctr"/>
            <a:r>
              <a:rPr lang="en-US" sz="900" dirty="0" smtClean="0">
                <a:solidFill>
                  <a:srgbClr val="FFFFFF"/>
                </a:solidFill>
              </a:rPr>
              <a:t> </a:t>
            </a:r>
            <a:r>
              <a:rPr lang="en-US" sz="900" dirty="0">
                <a:solidFill>
                  <a:srgbClr val="FFFFFF"/>
                </a:solidFill>
              </a:rPr>
              <a:t>Framework </a:t>
            </a:r>
            <a:r>
              <a:rPr lang="en-US" sz="900" dirty="0" smtClean="0">
                <a:solidFill>
                  <a:srgbClr val="FFFFFF"/>
                </a:solidFill>
              </a:rPr>
              <a:t>V1.3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74" name="Group 73"/>
          <p:cNvGrpSpPr/>
          <p:nvPr/>
        </p:nvGrpSpPr>
        <p:grpSpPr>
          <a:xfrm>
            <a:off x="535606" y="1123476"/>
            <a:ext cx="1181100" cy="1694354"/>
            <a:chOff x="3917950" y="1223217"/>
            <a:chExt cx="1181100" cy="1694354"/>
          </a:xfrm>
        </p:grpSpPr>
        <p:cxnSp>
          <p:nvCxnSpPr>
            <p:cNvPr id="75" name="Straight Connector 74"/>
            <p:cNvCxnSpPr/>
            <p:nvPr/>
          </p:nvCxnSpPr>
          <p:spPr>
            <a:xfrm flipV="1">
              <a:off x="3959225" y="1276895"/>
              <a:ext cx="0" cy="164067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49"/>
            <p:cNvSpPr txBox="1">
              <a:spLocks noChangeArrowheads="1"/>
            </p:cNvSpPr>
            <p:nvPr/>
          </p:nvSpPr>
          <p:spPr bwMode="auto">
            <a:xfrm>
              <a:off x="3917950" y="1223217"/>
              <a:ext cx="118110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>
                  <a:srgbClr val="0055AD"/>
                </a:buClr>
              </a:pPr>
              <a:r>
                <a:rPr lang="en-US" sz="800" dirty="0" smtClean="0">
                  <a:solidFill>
                    <a:srgbClr val="65CCE9"/>
                  </a:solidFill>
                  <a:ea typeface="ＭＳ Ｐゴシック" pitchFamily="34" charset="-128"/>
                </a:rPr>
                <a:t>12/26</a:t>
              </a:r>
            </a:p>
            <a:p>
              <a:pPr eaLnBrk="1" hangingPunct="1">
                <a:buClr>
                  <a:srgbClr val="0055AD"/>
                </a:buClr>
              </a:pPr>
              <a:r>
                <a:rPr lang="en-US" sz="800" dirty="0" smtClean="0">
                  <a:solidFill>
                    <a:srgbClr val="65CCE9"/>
                  </a:solidFill>
                  <a:ea typeface="ＭＳ Ｐゴシック" pitchFamily="34" charset="-128"/>
                </a:rPr>
                <a:t>Start Coding</a:t>
              </a:r>
            </a:p>
          </p:txBody>
        </p:sp>
      </p:grpSp>
      <p:sp>
        <p:nvSpPr>
          <p:cNvPr id="72" name="Chevron 44"/>
          <p:cNvSpPr>
            <a:spLocks noChangeArrowheads="1"/>
          </p:cNvSpPr>
          <p:nvPr/>
        </p:nvSpPr>
        <p:spPr bwMode="auto">
          <a:xfrm>
            <a:off x="578270" y="2123520"/>
            <a:ext cx="2030176" cy="271333"/>
          </a:xfrm>
          <a:prstGeom prst="chevron">
            <a:avLst>
              <a:gd name="adj" fmla="val 50144"/>
            </a:avLst>
          </a:prstGeom>
          <a:solidFill>
            <a:srgbClr val="9ACEDA"/>
          </a:solidFill>
          <a:ln w="9525" algn="ctr">
            <a:solidFill>
              <a:schemeClr val="accent5"/>
            </a:solidFill>
            <a:round/>
            <a:headEnd/>
            <a:tailEnd/>
          </a:ln>
        </p:spPr>
        <p:txBody>
          <a:bodyPr anchor="ctr"/>
          <a:lstStyle/>
          <a:p>
            <a:r>
              <a:rPr lang="en-US" sz="900" dirty="0" smtClean="0">
                <a:solidFill>
                  <a:srgbClr val="3C92A6"/>
                </a:solidFill>
              </a:rPr>
              <a:t> </a:t>
            </a:r>
            <a:r>
              <a:rPr lang="en-US" sz="900" dirty="0" smtClean="0">
                <a:solidFill>
                  <a:schemeClr val="bg2"/>
                </a:solidFill>
              </a:rPr>
              <a:t>HP </a:t>
            </a:r>
            <a:r>
              <a:rPr lang="en-US" sz="900" dirty="0">
                <a:solidFill>
                  <a:schemeClr val="bg2"/>
                </a:solidFill>
              </a:rPr>
              <a:t>ALM  (QC) Adapter</a:t>
            </a:r>
          </a:p>
        </p:txBody>
      </p:sp>
      <p:grpSp>
        <p:nvGrpSpPr>
          <p:cNvPr id="80" name="Group 79"/>
          <p:cNvGrpSpPr/>
          <p:nvPr/>
        </p:nvGrpSpPr>
        <p:grpSpPr>
          <a:xfrm>
            <a:off x="2621752" y="1063283"/>
            <a:ext cx="1027379" cy="1640677"/>
            <a:chOff x="6613525" y="2395866"/>
            <a:chExt cx="1697575" cy="1640677"/>
          </a:xfrm>
        </p:grpSpPr>
        <p:cxnSp>
          <p:nvCxnSpPr>
            <p:cNvPr id="81" name="Straight Connector 80"/>
            <p:cNvCxnSpPr/>
            <p:nvPr/>
          </p:nvCxnSpPr>
          <p:spPr>
            <a:xfrm flipV="1">
              <a:off x="6613525" y="2395866"/>
              <a:ext cx="2" cy="1640677"/>
            </a:xfrm>
            <a:prstGeom prst="line">
              <a:avLst/>
            </a:prstGeom>
            <a:ln w="317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49"/>
            <p:cNvSpPr txBox="1">
              <a:spLocks noChangeArrowheads="1"/>
            </p:cNvSpPr>
            <p:nvPr/>
          </p:nvSpPr>
          <p:spPr bwMode="auto">
            <a:xfrm>
              <a:off x="6613527" y="2635288"/>
              <a:ext cx="1697573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>
                  <a:srgbClr val="0055AD"/>
                </a:buClr>
              </a:pPr>
              <a:r>
                <a:rPr lang="en-US" sz="800" dirty="0" smtClean="0">
                  <a:solidFill>
                    <a:srgbClr val="00AE79"/>
                  </a:solidFill>
                  <a:ea typeface="ＭＳ Ｐゴシック" pitchFamily="34" charset="-128"/>
                </a:rPr>
                <a:t>3/31</a:t>
              </a:r>
            </a:p>
            <a:p>
              <a:pPr eaLnBrk="1" hangingPunct="1">
                <a:buClr>
                  <a:srgbClr val="0055AD"/>
                </a:buClr>
              </a:pPr>
              <a:r>
                <a:rPr lang="en-US" sz="800" dirty="0" smtClean="0">
                  <a:solidFill>
                    <a:srgbClr val="00AE79"/>
                  </a:solidFill>
                  <a:ea typeface="ＭＳ Ｐゴシック" pitchFamily="34" charset="-128"/>
                </a:rPr>
                <a:t>Automation Adapter: 1.0 Release</a:t>
              </a:r>
            </a:p>
          </p:txBody>
        </p:sp>
      </p:grpSp>
      <p:sp>
        <p:nvSpPr>
          <p:cNvPr id="102" name="Chevron 44"/>
          <p:cNvSpPr>
            <a:spLocks noChangeArrowheads="1"/>
          </p:cNvSpPr>
          <p:nvPr/>
        </p:nvSpPr>
        <p:spPr bwMode="auto">
          <a:xfrm>
            <a:off x="2452469" y="2688626"/>
            <a:ext cx="2119533" cy="271843"/>
          </a:xfrm>
          <a:prstGeom prst="chevron">
            <a:avLst>
              <a:gd name="adj" fmla="val 50144"/>
            </a:avLst>
          </a:prstGeom>
          <a:solidFill>
            <a:srgbClr val="92D050"/>
          </a:solidFill>
          <a:ln w="9525" algn="ctr">
            <a:solidFill>
              <a:schemeClr val="accent5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900" dirty="0" smtClean="0">
                <a:solidFill>
                  <a:srgbClr val="FFFFFF"/>
                </a:solidFill>
              </a:rPr>
              <a:t>GQS Automation </a:t>
            </a:r>
          </a:p>
          <a:p>
            <a:pPr algn="ctr"/>
            <a:r>
              <a:rPr lang="en-US" sz="900" dirty="0" smtClean="0">
                <a:solidFill>
                  <a:srgbClr val="FFFFFF"/>
                </a:solidFill>
              </a:rPr>
              <a:t>Framework V1.1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10" name="Chevron 44"/>
          <p:cNvSpPr>
            <a:spLocks noChangeArrowheads="1"/>
          </p:cNvSpPr>
          <p:nvPr/>
        </p:nvSpPr>
        <p:spPr bwMode="auto">
          <a:xfrm>
            <a:off x="4514852" y="3253358"/>
            <a:ext cx="2217653" cy="300785"/>
          </a:xfrm>
          <a:prstGeom prst="chevron">
            <a:avLst>
              <a:gd name="adj" fmla="val 50144"/>
            </a:avLst>
          </a:prstGeom>
          <a:solidFill>
            <a:schemeClr val="accent2"/>
          </a:solidFill>
          <a:ln w="9525" algn="ctr">
            <a:solidFill>
              <a:schemeClr val="accent5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900" dirty="0" smtClean="0">
                <a:solidFill>
                  <a:srgbClr val="FFFFFF"/>
                </a:solidFill>
              </a:rPr>
              <a:t>GQS Automation </a:t>
            </a:r>
          </a:p>
          <a:p>
            <a:pPr algn="ctr"/>
            <a:r>
              <a:rPr lang="en-US" sz="900" dirty="0" smtClean="0">
                <a:solidFill>
                  <a:srgbClr val="FFFFFF"/>
                </a:solidFill>
              </a:rPr>
              <a:t>Framework V1.2</a:t>
            </a:r>
            <a:endParaRPr lang="en-US" sz="900" dirty="0">
              <a:solidFill>
                <a:srgbClr val="FFFFFF"/>
              </a:solidFill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880104" y="2474186"/>
            <a:ext cx="409553" cy="351324"/>
          </a:xfrm>
          <a:prstGeom prst="line">
            <a:avLst/>
          </a:prstGeom>
          <a:ln w="127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6851006" y="4652251"/>
            <a:ext cx="2341833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srgbClr val="FFFFFF">
                    <a:lumMod val="50000"/>
                  </a:srgbClr>
                </a:solidFill>
              </a:rPr>
              <a:t>Framework Adop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srgbClr val="FFFFFF">
                    <a:lumMod val="50000"/>
                  </a:srgbClr>
                </a:solidFill>
              </a:rPr>
              <a:t>On-demand suppor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srgbClr val="FFFFFF">
                    <a:lumMod val="50000"/>
                  </a:srgbClr>
                </a:solidFill>
              </a:rPr>
              <a:t>New Features/Enhancements:</a:t>
            </a: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US" sz="900" b="1" dirty="0" smtClean="0">
                <a:solidFill>
                  <a:srgbClr val="FFFFFF">
                    <a:lumMod val="50000"/>
                  </a:srgbClr>
                </a:solidFill>
              </a:rPr>
              <a:t>Support </a:t>
            </a:r>
            <a:r>
              <a:rPr lang="en-US" sz="900" b="1" dirty="0">
                <a:solidFill>
                  <a:srgbClr val="FFFFFF">
                    <a:lumMod val="50000"/>
                  </a:srgbClr>
                </a:solidFill>
              </a:rPr>
              <a:t>data </a:t>
            </a:r>
            <a:r>
              <a:rPr lang="en-US" sz="900" b="1" dirty="0" smtClean="0">
                <a:solidFill>
                  <a:srgbClr val="FFFFFF">
                    <a:lumMod val="50000"/>
                  </a:srgbClr>
                </a:solidFill>
              </a:rPr>
              <a:t>comparison: Integrate with ETLTestingTool;</a:t>
            </a: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US" sz="900" b="1" dirty="0" smtClean="0">
                <a:solidFill>
                  <a:srgbClr val="FFFFFF">
                    <a:lumMod val="50000"/>
                  </a:srgbClr>
                </a:solidFill>
              </a:rPr>
              <a:t>Provide CMD line/offline mode for QC related utility functions;</a:t>
            </a:r>
          </a:p>
          <a:p>
            <a:pPr marL="628650" lvl="1" indent="-171450">
              <a:buFont typeface="Wingdings" panose="05000000000000000000" pitchFamily="2" charset="2"/>
              <a:buChar char="ü"/>
            </a:pPr>
            <a:r>
              <a:rPr lang="en-US" sz="900" b="1" dirty="0" smtClean="0">
                <a:solidFill>
                  <a:srgbClr val="FFFFFF">
                    <a:lumMod val="50000"/>
                  </a:srgbClr>
                </a:solidFill>
              </a:rPr>
              <a:t>…</a:t>
            </a:r>
          </a:p>
          <a:p>
            <a:endParaRPr lang="en-US" sz="900" b="1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85" name="Straight Connector 84"/>
          <p:cNvCxnSpPr/>
          <p:nvPr/>
        </p:nvCxnSpPr>
        <p:spPr>
          <a:xfrm>
            <a:off x="5142242" y="3646255"/>
            <a:ext cx="409553" cy="351324"/>
          </a:xfrm>
          <a:prstGeom prst="line">
            <a:avLst/>
          </a:prstGeom>
          <a:ln w="127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2794212" y="3104509"/>
            <a:ext cx="409553" cy="351324"/>
          </a:xfrm>
          <a:prstGeom prst="line">
            <a:avLst/>
          </a:prstGeom>
          <a:ln w="127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599710" y="2825510"/>
            <a:ext cx="17311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3C92A6"/>
                </a:solidFill>
              </a:rPr>
              <a:t>Ranorex Adapter</a:t>
            </a:r>
            <a:endParaRPr lang="en-US" sz="900" dirty="0">
              <a:solidFill>
                <a:srgbClr val="3C92A6"/>
              </a:solidFill>
            </a:endParaRPr>
          </a:p>
        </p:txBody>
      </p:sp>
      <p:sp>
        <p:nvSpPr>
          <p:cNvPr id="94" name="Title 1"/>
          <p:cNvSpPr txBox="1">
            <a:spLocks/>
          </p:cNvSpPr>
          <p:nvPr/>
        </p:nvSpPr>
        <p:spPr bwMode="auto">
          <a:xfrm>
            <a:off x="328017" y="775099"/>
            <a:ext cx="823277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2800" kern="0" dirty="0" smtClean="0">
                <a:solidFill>
                  <a:schemeClr val="tx1"/>
                </a:solidFill>
                <a:latin typeface="Calibri" panose="020F0502020204030204" pitchFamily="34" charset="0"/>
                <a:cs typeface="+mj-cs"/>
              </a:rPr>
              <a:t>GQS Automation </a:t>
            </a:r>
            <a:r>
              <a:rPr lang="en-US" sz="2800" kern="0" dirty="0">
                <a:solidFill>
                  <a:schemeClr val="tx1"/>
                </a:solidFill>
                <a:latin typeface="Calibri" panose="020F0502020204030204" pitchFamily="34" charset="0"/>
                <a:cs typeface="+mj-cs"/>
              </a:rPr>
              <a:t>Framework Timeline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4421790" y="4196902"/>
            <a:ext cx="29248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schemeClr val="accent2"/>
                </a:solidFill>
              </a:rPr>
              <a:t>Support TDM/ARD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2"/>
                </a:solidFill>
              </a:rPr>
              <a:t>ALM/QC </a:t>
            </a:r>
            <a:r>
              <a:rPr lang="en-US" sz="900" dirty="0" smtClean="0">
                <a:solidFill>
                  <a:schemeClr val="accent2"/>
                </a:solidFill>
              </a:rPr>
              <a:t>on-demand new features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schemeClr val="accent2"/>
                </a:solidFill>
              </a:rPr>
              <a:t>IDF Adapter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schemeClr val="accent2"/>
                </a:solidFill>
              </a:rPr>
              <a:t>Framework Adoption:</a:t>
            </a:r>
            <a:r>
              <a:rPr lang="en-US" sz="900" dirty="0" smtClean="0">
                <a:solidFill>
                  <a:schemeClr val="accent2"/>
                </a:solidFill>
              </a:rPr>
              <a:t> EMEA, APAC, GM domai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schemeClr val="accent2"/>
                </a:solidFill>
              </a:rPr>
              <a:t>…</a:t>
            </a:r>
            <a:endParaRPr lang="en-US" sz="900" b="1" dirty="0">
              <a:solidFill>
                <a:schemeClr val="accent2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94331" y="3049339"/>
            <a:ext cx="17311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3C92A6"/>
                </a:solidFill>
              </a:rPr>
              <a:t>VBS Adapter</a:t>
            </a:r>
            <a:endParaRPr lang="en-US" sz="900" dirty="0">
              <a:solidFill>
                <a:srgbClr val="3C92A6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94331" y="3325811"/>
            <a:ext cx="17311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3C92A6"/>
                </a:solidFill>
              </a:rPr>
              <a:t>Java Adapter</a:t>
            </a:r>
            <a:endParaRPr lang="en-US" sz="900" dirty="0">
              <a:solidFill>
                <a:srgbClr val="3C92A6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2323511" y="3509188"/>
            <a:ext cx="29248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rgbClr val="92D050"/>
                </a:solidFill>
              </a:rPr>
              <a:t>Support VBS. VB.NET, Java languages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srgbClr val="92D050"/>
                </a:solidFill>
              </a:rPr>
              <a:t>Data Driven &amp; Keyword Driven Automation Frame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srgbClr val="92D050"/>
                </a:solidFill>
              </a:rPr>
              <a:t>Runnable Sample Projects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rgbClr val="92D050"/>
                </a:solidFill>
              </a:rPr>
              <a:t>Upload QC Defe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1" dirty="0" smtClean="0">
                <a:solidFill>
                  <a:srgbClr val="92D050"/>
                </a:solidFill>
              </a:rPr>
              <a:t>…</a:t>
            </a:r>
            <a:endParaRPr lang="en-US" sz="900" b="1" dirty="0">
              <a:solidFill>
                <a:srgbClr val="92D050"/>
              </a:solidFill>
            </a:endParaRPr>
          </a:p>
        </p:txBody>
      </p:sp>
      <p:cxnSp>
        <p:nvCxnSpPr>
          <p:cNvPr id="70" name="Straight Connector 69"/>
          <p:cNvCxnSpPr/>
          <p:nvPr/>
        </p:nvCxnSpPr>
        <p:spPr>
          <a:xfrm>
            <a:off x="7346656" y="4196902"/>
            <a:ext cx="409553" cy="351324"/>
          </a:xfrm>
          <a:prstGeom prst="line">
            <a:avLst/>
          </a:prstGeom>
          <a:ln w="127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1" name="TextBox 85"/>
          <p:cNvSpPr txBox="1">
            <a:spLocks noChangeArrowheads="1"/>
          </p:cNvSpPr>
          <p:nvPr/>
        </p:nvSpPr>
        <p:spPr bwMode="auto">
          <a:xfrm>
            <a:off x="7568088" y="4184323"/>
            <a:ext cx="99270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dirty="0" smtClean="0">
                <a:solidFill>
                  <a:srgbClr val="000000"/>
                </a:solidFill>
                <a:ea typeface="ＭＳ Ｐゴシック" pitchFamily="34" charset="-128"/>
              </a:rPr>
              <a:t>2017 Q4</a:t>
            </a:r>
            <a:endParaRPr lang="en-US" sz="1200" dirty="0" smtClean="0">
              <a:solidFill>
                <a:srgbClr val="A5A5A5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943688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wnload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  <a:buClr>
                <a:schemeClr val="tx1"/>
              </a:buClr>
            </a:pPr>
            <a:r>
              <a:rPr lang="en-US" b="1" dirty="0"/>
              <a:t>Download location</a:t>
            </a:r>
          </a:p>
          <a:p>
            <a:pPr lvl="1"/>
            <a:r>
              <a:rPr lang="en-US" dirty="0">
                <a:hlinkClick r:id="rId2"/>
              </a:rPr>
              <a:t>https://collaborate.statestr.com/sites/GQS/SitePages/SQE.aspx?RootFolder=%2Fsites%2FGQS%2FSQE%20Team%20Documents%2FGQS%20Framework%20Artifacts&amp;FolderCTID=0x012000F9960FF8839EAA43AC733B39D4AAC392&amp;View={065B4EA9-CBC0-4005-8E2F-D82CA39775E8</a:t>
            </a:r>
            <a:r>
              <a:rPr lang="en-US" dirty="0" smtClean="0">
                <a:hlinkClick r:id="rId2"/>
              </a:rPr>
              <a:t>}</a:t>
            </a:r>
            <a:endParaRPr lang="en-US" dirty="0" smtClean="0"/>
          </a:p>
          <a:p>
            <a:pPr marL="341313" lvl="1" indent="0"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ACCCA-BA74-4365-B59A-A0032200AB59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006151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ical Suppor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5105400"/>
          </a:xfrm>
        </p:spPr>
        <p:txBody>
          <a:bodyPr/>
          <a:lstStyle/>
          <a:p>
            <a:r>
              <a:rPr lang="en-US" b="1" dirty="0" smtClean="0"/>
              <a:t>Please contact </a:t>
            </a:r>
            <a:r>
              <a:rPr lang="en-US" b="1" dirty="0" smtClean="0">
                <a:hlinkClick r:id="rId2"/>
              </a:rPr>
              <a:t>AutomationCoreTeam@StateStreet.com</a:t>
            </a:r>
            <a:endParaRPr lang="en-US" b="1" dirty="0"/>
          </a:p>
          <a:p>
            <a:endParaRPr lang="en-US" b="1" dirty="0" smtClean="0"/>
          </a:p>
          <a:p>
            <a:r>
              <a:rPr lang="en-US" b="1" dirty="0" smtClean="0"/>
              <a:t>Framework </a:t>
            </a:r>
            <a:r>
              <a:rPr lang="en-US" b="1" dirty="0" smtClean="0"/>
              <a:t>Backlog Tracking</a:t>
            </a:r>
          </a:p>
          <a:p>
            <a:pPr lvl="1"/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collaborate.statestr.com/sites/GQS/Lists/Framework_backlog/AllItems.aspx</a:t>
            </a:r>
            <a:endParaRPr lang="en-US" dirty="0"/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endParaRPr lang="en-US" b="1" dirty="0" smtClean="0"/>
          </a:p>
          <a:p>
            <a:r>
              <a:rPr lang="en-US" b="1" dirty="0" smtClean="0"/>
              <a:t>Framework </a:t>
            </a:r>
            <a:r>
              <a:rPr lang="en-US" b="1" dirty="0" smtClean="0"/>
              <a:t>Issues </a:t>
            </a:r>
            <a:r>
              <a:rPr lang="en-US" b="1" dirty="0" smtClean="0"/>
              <a:t>Tracking</a:t>
            </a:r>
            <a:endParaRPr lang="en-US" dirty="0" smtClean="0">
              <a:hlinkClick r:id="rId4"/>
            </a:endParaRPr>
          </a:p>
          <a:p>
            <a:pPr lvl="1"/>
            <a:r>
              <a:rPr lang="en-US" dirty="0" smtClean="0">
                <a:hlinkClick r:id="rId4"/>
              </a:rPr>
              <a:t>https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collaborate.statestr.com/sites/GQS/Lists/Framework_issue/AllItems.aspx</a:t>
            </a:r>
            <a:endParaRPr lang="en-US" dirty="0" smtClean="0"/>
          </a:p>
          <a:p>
            <a:pPr marL="341313" lvl="1" indent="0">
              <a:buNone/>
            </a:pP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Screen Clippi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99"/>
          <a:stretch/>
        </p:blipFill>
        <p:spPr>
          <a:xfrm>
            <a:off x="533400" y="3045106"/>
            <a:ext cx="8229600" cy="129844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7" name="Picture 6" descr="Screen Clippin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49"/>
          <a:stretch/>
        </p:blipFill>
        <p:spPr>
          <a:xfrm>
            <a:off x="533400" y="5423817"/>
            <a:ext cx="8243454" cy="75258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62513334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540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0" name="think-cell Slide" r:id="rId5" imgW="572" imgH="429" progId="TCLayout.ActiveDocument.1">
                  <p:embed/>
                </p:oleObj>
              </mc:Choice>
              <mc:Fallback>
                <p:oleObj name="think-cell Slide" r:id="rId5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 of Content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634259"/>
              </p:ext>
            </p:extLst>
          </p:nvPr>
        </p:nvGraphicFramePr>
        <p:xfrm>
          <a:off x="457200" y="922020"/>
          <a:ext cx="8229600" cy="358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00800"/>
                <a:gridCol w="1828800"/>
              </a:tblGrid>
              <a:tr h="716280">
                <a:tc>
                  <a:txBody>
                    <a:bodyPr/>
                    <a:lstStyle/>
                    <a:p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</a:rPr>
                        <a:t>Key Design Considerations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162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</a:rPr>
                        <a:t>Framework Architecture</a:t>
                      </a:r>
                      <a:endParaRPr lang="en-US" sz="16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162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Consistent Metrics in HP QC</a:t>
                      </a: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1628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RD / Automation End to End Workflow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16280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Download</a:t>
                      </a:r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</a:rPr>
                        <a:t> &amp; </a:t>
                      </a:r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Technical </a:t>
                      </a:r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</a:rPr>
                        <a:t>Support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334129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Shape 14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Key Design Considerations</a:t>
            </a:r>
            <a:endParaRPr lang="en-US" dirty="0"/>
          </a:p>
        </p:txBody>
      </p:sp>
      <p:sp>
        <p:nvSpPr>
          <p:cNvPr id="145" name="Shape 14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2" name="Rectangle 1"/>
          <p:cNvSpPr/>
          <p:nvPr/>
        </p:nvSpPr>
        <p:spPr>
          <a:xfrm>
            <a:off x="3275349" y="1524000"/>
            <a:ext cx="3963651" cy="104473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>
              <a:spcAft>
                <a:spcPts val="600"/>
              </a:spcAft>
              <a:defRPr sz="1800">
                <a:solidFill>
                  <a:srgbClr val="000000"/>
                </a:solidFill>
              </a:defRPr>
            </a:pPr>
            <a:r>
              <a:rPr lang="en-US" sz="1600" b="1" dirty="0" smtClean="0">
                <a:solidFill>
                  <a:schemeClr val="accent1"/>
                </a:solidFill>
              </a:rPr>
              <a:t>Use “best fit” tool for automation</a:t>
            </a:r>
            <a:endParaRPr lang="en-US" sz="1600" dirty="0" smtClean="0"/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pPr>
            <a:r>
              <a:rPr lang="en-US" sz="1600" dirty="0" smtClean="0"/>
              <a:t>UFT / Ranorex / Selenium codes</a:t>
            </a:r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pPr>
            <a:r>
              <a:rPr lang="en-US" sz="1600" dirty="0" smtClean="0"/>
              <a:t>Excel input data</a:t>
            </a:r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pPr>
            <a:r>
              <a:rPr lang="en-US" sz="1600" dirty="0" smtClean="0"/>
              <a:t>HTML output report</a:t>
            </a: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1676518" y="1399122"/>
            <a:ext cx="1382627" cy="1382627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400" b="1" dirty="0" smtClean="0">
                <a:solidFill>
                  <a:schemeClr val="accent1"/>
                </a:solidFill>
              </a:rPr>
              <a:t>Native Tools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10" name="Oval 9"/>
          <p:cNvSpPr>
            <a:spLocks noChangeAspect="1"/>
          </p:cNvSpPr>
          <p:nvPr/>
        </p:nvSpPr>
        <p:spPr>
          <a:xfrm>
            <a:off x="1676518" y="2967637"/>
            <a:ext cx="1382627" cy="1382627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400" b="1" dirty="0" smtClean="0">
                <a:solidFill>
                  <a:schemeClr val="accent1"/>
                </a:solidFill>
              </a:rPr>
              <a:t>Open Standards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1676518" y="4536152"/>
            <a:ext cx="1382627" cy="1382627"/>
          </a:xfrm>
          <a:prstGeom prst="ellipse">
            <a:avLst/>
          </a:prstGeom>
          <a:solidFill>
            <a:schemeClr val="bg1"/>
          </a:solidFill>
          <a:ln w="1397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400" b="1" dirty="0" smtClean="0">
                <a:solidFill>
                  <a:schemeClr val="accent1"/>
                </a:solidFill>
              </a:rPr>
              <a:t>Light Weight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275349" y="3124200"/>
            <a:ext cx="3963651" cy="104473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spcAft>
                <a:spcPts val="600"/>
              </a:spcAft>
              <a:defRPr sz="1800">
                <a:solidFill>
                  <a:srgbClr val="000000"/>
                </a:solidFill>
              </a:defRPr>
            </a:pPr>
            <a:r>
              <a:rPr lang="en-US" sz="1600" b="1" dirty="0" smtClean="0">
                <a:solidFill>
                  <a:schemeClr val="accent1"/>
                </a:solidFill>
              </a:rPr>
              <a:t>Facilitate interoperability &amp; extensibility</a:t>
            </a:r>
            <a:endParaRPr lang="en-US" sz="1600" dirty="0"/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pPr>
            <a:r>
              <a:rPr lang="en-US" sz="1600" dirty="0" smtClean="0"/>
              <a:t>Exchange data b/w different products</a:t>
            </a:r>
          </a:p>
          <a:p>
            <a:pPr marL="285750" indent="-285750">
              <a:spcAft>
                <a:spcPts val="500"/>
              </a:spcAft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pPr>
            <a:r>
              <a:rPr lang="en-US" sz="1600" dirty="0" smtClean="0"/>
              <a:t>Reuse features from </a:t>
            </a:r>
            <a:r>
              <a:rPr lang="en-US" sz="1600" dirty="0"/>
              <a:t>coding </a:t>
            </a:r>
            <a:r>
              <a:rPr lang="en-US" sz="1600" dirty="0" smtClean="0"/>
              <a:t>languag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275349" y="4724400"/>
            <a:ext cx="3963651" cy="104473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spcAft>
                <a:spcPts val="600"/>
              </a:spcAft>
              <a:defRPr sz="1800">
                <a:solidFill>
                  <a:srgbClr val="000000"/>
                </a:solidFill>
              </a:defRPr>
            </a:pPr>
            <a:r>
              <a:rPr lang="en-US" sz="1600" b="1" dirty="0" smtClean="0">
                <a:solidFill>
                  <a:schemeClr val="accent1"/>
                </a:solidFill>
              </a:rPr>
              <a:t>Less development &amp; support effort</a:t>
            </a:r>
            <a:endParaRPr lang="en-US" sz="1600" dirty="0" smtClean="0"/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pPr>
            <a:r>
              <a:rPr lang="en-US" sz="1600" dirty="0" smtClean="0"/>
              <a:t>Develop in native tools and languages</a:t>
            </a:r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pPr>
            <a:r>
              <a:rPr lang="en-US" sz="1600" dirty="0" smtClean="0"/>
              <a:t>Debug and trace in IDE of native tools</a:t>
            </a:r>
          </a:p>
          <a:p>
            <a:pPr lvl="0">
              <a:spcAft>
                <a:spcPts val="500"/>
              </a:spcAft>
              <a:defRPr sz="1800">
                <a:solidFill>
                  <a:srgbClr val="000000"/>
                </a:solidFill>
              </a:defRPr>
            </a:pPr>
            <a:endParaRPr lang="en-US" sz="1600" dirty="0" smtClean="0"/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pPr>
            <a:endParaRPr lang="en-US" sz="1600" dirty="0" smtClean="0"/>
          </a:p>
          <a:p>
            <a:pPr marL="285750" lvl="0" indent="-285750">
              <a:spcAft>
                <a:spcPts val="500"/>
              </a:spcAft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pP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63560589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amework Architectur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57200" y="914400"/>
            <a:ext cx="8229600" cy="5410200"/>
          </a:xfrm>
          <a:prstGeom prst="rect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200" dirty="0" smtClean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62000" y="1094601"/>
            <a:ext cx="5730240" cy="8103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7432" rIns="0" bIns="0" rtlCol="0" anchor="t" anchorCtr="0"/>
          <a:lstStyle/>
          <a:p>
            <a:r>
              <a:rPr lang="en-US" sz="1200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Application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66800" y="1371600"/>
            <a:ext cx="1143000" cy="36576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esktop</a:t>
            </a:r>
          </a:p>
        </p:txBody>
      </p:sp>
      <p:sp>
        <p:nvSpPr>
          <p:cNvPr id="7" name="Rectangle 6"/>
          <p:cNvSpPr/>
          <p:nvPr/>
        </p:nvSpPr>
        <p:spPr>
          <a:xfrm>
            <a:off x="2387600" y="1371600"/>
            <a:ext cx="1143000" cy="36576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</a:rPr>
              <a:t>Mainframe</a:t>
            </a:r>
          </a:p>
        </p:txBody>
      </p:sp>
      <p:sp>
        <p:nvSpPr>
          <p:cNvPr id="8" name="Rectangle 7"/>
          <p:cNvSpPr/>
          <p:nvPr/>
        </p:nvSpPr>
        <p:spPr>
          <a:xfrm>
            <a:off x="3708400" y="1371600"/>
            <a:ext cx="1143000" cy="36576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Flash / Flex</a:t>
            </a:r>
            <a:endParaRPr lang="en-US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029200" y="1371600"/>
            <a:ext cx="1143000" cy="36576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Web App</a:t>
            </a:r>
            <a:endParaRPr lang="en-US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62000" y="2179320"/>
            <a:ext cx="5730240" cy="399288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2743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Framework</a:t>
            </a:r>
            <a:endParaRPr lang="en-US" sz="1200" u="sng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Flowchart: Magnetic Disk 12"/>
          <p:cNvSpPr/>
          <p:nvPr/>
        </p:nvSpPr>
        <p:spPr>
          <a:xfrm>
            <a:off x="7239000" y="4267200"/>
            <a:ext cx="914400" cy="914400"/>
          </a:xfrm>
          <a:prstGeom prst="flowChartMagneticDisk">
            <a:avLst/>
          </a:prstGeom>
          <a:solidFill>
            <a:schemeClr val="tx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HP ALM/QC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2438400" y="2273439"/>
            <a:ext cx="0" cy="3746361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5" name="Flowchart: Magnetic Disk 24"/>
          <p:cNvSpPr/>
          <p:nvPr/>
        </p:nvSpPr>
        <p:spPr>
          <a:xfrm>
            <a:off x="5334000" y="2354481"/>
            <a:ext cx="914400" cy="818307"/>
          </a:xfrm>
          <a:prstGeom prst="flowChartMagneticDisk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GUI Object Repository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755743" y="2351461"/>
            <a:ext cx="2287310" cy="82434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7432" rIns="0" bIns="0" rtlCol="0" anchor="t" anchorCtr="0"/>
          <a:lstStyle/>
          <a:p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utomation Scripts</a:t>
            </a:r>
          </a:p>
        </p:txBody>
      </p:sp>
      <p:grpSp>
        <p:nvGrpSpPr>
          <p:cNvPr id="152576" name="Group 152575"/>
          <p:cNvGrpSpPr/>
          <p:nvPr/>
        </p:nvGrpSpPr>
        <p:grpSpPr>
          <a:xfrm>
            <a:off x="2971800" y="2590800"/>
            <a:ext cx="1874520" cy="557531"/>
            <a:chOff x="3200399" y="3688019"/>
            <a:chExt cx="1874521" cy="557531"/>
          </a:xfrm>
        </p:grpSpPr>
        <p:grpSp>
          <p:nvGrpSpPr>
            <p:cNvPr id="21" name="Group 20"/>
            <p:cNvGrpSpPr/>
            <p:nvPr/>
          </p:nvGrpSpPr>
          <p:grpSpPr>
            <a:xfrm>
              <a:off x="3200399" y="3694727"/>
              <a:ext cx="1874521" cy="550823"/>
              <a:chOff x="4968239" y="3670955"/>
              <a:chExt cx="1874521" cy="550823"/>
            </a:xfrm>
          </p:grpSpPr>
          <p:pic>
            <p:nvPicPr>
              <p:cNvPr id="26" name="Picture 12" descr="Image result for hp uft logo">
                <a:hlinkClick r:id="rId3"/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14999" y="3670955"/>
                <a:ext cx="365760" cy="36576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4" descr="Image result for selenium">
                <a:hlinkClick r:id="rId5"/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66359" y="3707586"/>
                <a:ext cx="365760" cy="3310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9" name="TextBox 28"/>
              <p:cNvSpPr txBox="1"/>
              <p:nvPr/>
            </p:nvSpPr>
            <p:spPr>
              <a:xfrm>
                <a:off x="4968239" y="3931920"/>
                <a:ext cx="80771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latin typeface="Calibri" panose="020F0502020204030204" pitchFamily="34" charset="0"/>
                  </a:rPr>
                  <a:t>Selenium</a:t>
                </a: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5547360" y="3944779"/>
                <a:ext cx="73152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latin typeface="Calibri" panose="020F0502020204030204" pitchFamily="34" charset="0"/>
                  </a:rPr>
                  <a:t>UFT</a:t>
                </a: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6111240" y="3942532"/>
                <a:ext cx="73152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latin typeface="Calibri" panose="020F0502020204030204" pitchFamily="34" charset="0"/>
                  </a:rPr>
                  <a:t>Ranorex</a:t>
                </a:r>
              </a:p>
            </p:txBody>
          </p:sp>
        </p:grpSp>
        <p:pic>
          <p:nvPicPr>
            <p:cNvPr id="152580" name="Picture 4" descr="Image result for ranorex icon transparent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5799" y="3688019"/>
              <a:ext cx="36576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2584" name="Group 152583"/>
          <p:cNvGrpSpPr/>
          <p:nvPr/>
        </p:nvGrpSpPr>
        <p:grpSpPr>
          <a:xfrm>
            <a:off x="7010400" y="1094601"/>
            <a:ext cx="1828800" cy="276999"/>
            <a:chOff x="6781800" y="1094601"/>
            <a:chExt cx="1828800" cy="276999"/>
          </a:xfrm>
        </p:grpSpPr>
        <p:sp>
          <p:nvSpPr>
            <p:cNvPr id="11" name="Rectangle 10"/>
            <p:cNvSpPr/>
            <p:nvPr/>
          </p:nvSpPr>
          <p:spPr>
            <a:xfrm>
              <a:off x="6781800" y="1143000"/>
              <a:ext cx="182880" cy="18288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20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2579" name="TextBox 152578"/>
            <p:cNvSpPr txBox="1"/>
            <p:nvPr/>
          </p:nvSpPr>
          <p:spPr>
            <a:xfrm>
              <a:off x="7048500" y="1094601"/>
              <a:ext cx="15621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Calibri" panose="020F0502020204030204" pitchFamily="34" charset="0"/>
                </a:rPr>
                <a:t>Domain App</a:t>
              </a:r>
              <a:endParaRPr lang="en-US" sz="1200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52598" name="Group 152597"/>
          <p:cNvGrpSpPr/>
          <p:nvPr/>
        </p:nvGrpSpPr>
        <p:grpSpPr>
          <a:xfrm>
            <a:off x="7010400" y="1410454"/>
            <a:ext cx="1828800" cy="276999"/>
            <a:chOff x="6781800" y="1415980"/>
            <a:chExt cx="1828800" cy="276999"/>
          </a:xfrm>
        </p:grpSpPr>
        <p:sp>
          <p:nvSpPr>
            <p:cNvPr id="42" name="Rectangle 41"/>
            <p:cNvSpPr/>
            <p:nvPr/>
          </p:nvSpPr>
          <p:spPr>
            <a:xfrm>
              <a:off x="6781800" y="1464379"/>
              <a:ext cx="182880" cy="182880"/>
            </a:xfrm>
            <a:prstGeom prst="rect">
              <a:avLst/>
            </a:prstGeom>
            <a:solidFill>
              <a:schemeClr val="accent6"/>
            </a:solidFill>
            <a:ln w="1270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048500" y="1415980"/>
              <a:ext cx="15621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Calibri" panose="020F0502020204030204" pitchFamily="34" charset="0"/>
                </a:rPr>
                <a:t>Excel Input</a:t>
              </a:r>
              <a:endParaRPr lang="en-US" sz="1200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52592" name="Group 152591"/>
          <p:cNvGrpSpPr/>
          <p:nvPr/>
        </p:nvGrpSpPr>
        <p:grpSpPr>
          <a:xfrm>
            <a:off x="914400" y="2667000"/>
            <a:ext cx="1223391" cy="2694709"/>
            <a:chOff x="910209" y="2410691"/>
            <a:chExt cx="1223391" cy="2694709"/>
          </a:xfrm>
        </p:grpSpPr>
        <p:sp>
          <p:nvSpPr>
            <p:cNvPr id="17" name="Rectangle 16"/>
            <p:cNvSpPr/>
            <p:nvPr/>
          </p:nvSpPr>
          <p:spPr>
            <a:xfrm>
              <a:off x="1310640" y="3017520"/>
              <a:ext cx="822960" cy="548640"/>
            </a:xfrm>
            <a:prstGeom prst="rect">
              <a:avLst/>
            </a:prstGeom>
            <a:solidFill>
              <a:schemeClr val="accent6"/>
            </a:solidFill>
            <a:ln w="1270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Config </a:t>
              </a: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Setup</a:t>
              </a: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310640" y="3787140"/>
              <a:ext cx="822960" cy="548640"/>
            </a:xfrm>
            <a:prstGeom prst="rect">
              <a:avLst/>
            </a:prstGeom>
            <a:solidFill>
              <a:schemeClr val="accent6"/>
            </a:solidFill>
            <a:ln w="1270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Test Set/Case</a:t>
              </a: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10640" y="4556760"/>
              <a:ext cx="822960" cy="548640"/>
            </a:xfrm>
            <a:prstGeom prst="rect">
              <a:avLst/>
            </a:prstGeom>
            <a:solidFill>
              <a:schemeClr val="accent6"/>
            </a:solidFill>
            <a:ln w="1270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Data</a:t>
              </a: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Inputs</a:t>
              </a: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52585" name="Picture 8" descr="Image result for excel icon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0209" y="2410691"/>
              <a:ext cx="465581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52587" name="Elbow Connector 152586"/>
            <p:cNvCxnSpPr>
              <a:stCxn id="17" idx="1"/>
              <a:endCxn id="152585" idx="2"/>
            </p:cNvCxnSpPr>
            <p:nvPr/>
          </p:nvCxnSpPr>
          <p:spPr>
            <a:xfrm rot="10800000">
              <a:off x="1143000" y="2867892"/>
              <a:ext cx="167640" cy="423949"/>
            </a:xfrm>
            <a:prstGeom prst="bentConnector2">
              <a:avLst/>
            </a:prstGeom>
            <a:ln w="19050"/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52589" name="Elbow Connector 152588"/>
            <p:cNvCxnSpPr>
              <a:stCxn id="19" idx="1"/>
              <a:endCxn id="152585" idx="2"/>
            </p:cNvCxnSpPr>
            <p:nvPr/>
          </p:nvCxnSpPr>
          <p:spPr>
            <a:xfrm rot="10800000">
              <a:off x="1143000" y="2867892"/>
              <a:ext cx="167640" cy="1193569"/>
            </a:xfrm>
            <a:prstGeom prst="bentConnector2">
              <a:avLst/>
            </a:prstGeom>
            <a:ln w="19050"/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52591" name="Elbow Connector 152590"/>
            <p:cNvCxnSpPr>
              <a:stCxn id="20" idx="1"/>
              <a:endCxn id="152585" idx="2"/>
            </p:cNvCxnSpPr>
            <p:nvPr/>
          </p:nvCxnSpPr>
          <p:spPr>
            <a:xfrm rot="10800000">
              <a:off x="1143000" y="2867892"/>
              <a:ext cx="167640" cy="1963189"/>
            </a:xfrm>
            <a:prstGeom prst="bentConnector2">
              <a:avLst/>
            </a:prstGeom>
            <a:ln w="19050"/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grpSp>
        <p:nvGrpSpPr>
          <p:cNvPr id="152599" name="Group 152598"/>
          <p:cNvGrpSpPr/>
          <p:nvPr/>
        </p:nvGrpSpPr>
        <p:grpSpPr>
          <a:xfrm>
            <a:off x="7010400" y="1726307"/>
            <a:ext cx="1828800" cy="276999"/>
            <a:chOff x="6781800" y="1713022"/>
            <a:chExt cx="1828800" cy="276999"/>
          </a:xfrm>
        </p:grpSpPr>
        <p:sp>
          <p:nvSpPr>
            <p:cNvPr id="61" name="Rectangle 60"/>
            <p:cNvSpPr/>
            <p:nvPr/>
          </p:nvSpPr>
          <p:spPr>
            <a:xfrm>
              <a:off x="6781800" y="1761421"/>
              <a:ext cx="182880" cy="18288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7048500" y="1713022"/>
              <a:ext cx="15621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Calibri" panose="020F0502020204030204" pitchFamily="34" charset="0"/>
                </a:rPr>
                <a:t>Framework Code</a:t>
              </a:r>
              <a:endParaRPr lang="en-US" sz="1200" dirty="0">
                <a:latin typeface="Calibri" panose="020F0502020204030204" pitchFamily="34" charset="0"/>
              </a:endParaRPr>
            </a:p>
          </p:txBody>
        </p:sp>
      </p:grpSp>
      <p:cxnSp>
        <p:nvCxnSpPr>
          <p:cNvPr id="152601" name="Straight Arrow Connector 152600"/>
          <p:cNvCxnSpPr>
            <a:stCxn id="18" idx="3"/>
            <a:endCxn id="25" idx="2"/>
          </p:cNvCxnSpPr>
          <p:nvPr/>
        </p:nvCxnSpPr>
        <p:spPr>
          <a:xfrm>
            <a:off x="5043053" y="2763634"/>
            <a:ext cx="290947" cy="1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5" idx="2"/>
            <a:endCxn id="12" idx="0"/>
          </p:cNvCxnSpPr>
          <p:nvPr/>
        </p:nvCxnSpPr>
        <p:spPr>
          <a:xfrm>
            <a:off x="3627120" y="1905000"/>
            <a:ext cx="0" cy="274320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59" name="Picture 10" descr="Related imag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304800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Box 119"/>
          <p:cNvSpPr txBox="1"/>
          <p:nvPr/>
        </p:nvSpPr>
        <p:spPr>
          <a:xfrm>
            <a:off x="7086600" y="3609201"/>
            <a:ext cx="122855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 smtClean="0">
                <a:latin typeface="Calibri" panose="020F0502020204030204" pitchFamily="34" charset="0"/>
              </a:rPr>
              <a:t>HTML Report</a:t>
            </a:r>
            <a:endParaRPr lang="en-US" sz="1200" dirty="0">
              <a:latin typeface="Calibri" panose="020F0502020204030204" pitchFamily="34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7010400" y="2667001"/>
            <a:ext cx="1371600" cy="269470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2743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Results</a:t>
            </a:r>
            <a:endParaRPr lang="en-US" sz="1200" u="sng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7010400" y="2090559"/>
            <a:ext cx="182880" cy="18288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2743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7277100" y="2042160"/>
            <a:ext cx="1562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alibri" panose="020F0502020204030204" pitchFamily="34" charset="0"/>
              </a:rPr>
              <a:t>Domain Code</a:t>
            </a:r>
            <a:endParaRPr lang="en-US" sz="1200" dirty="0">
              <a:latin typeface="Calibri" panose="020F050202020403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759827" y="3340332"/>
            <a:ext cx="2729345" cy="77446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2743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Modules</a:t>
            </a:r>
          </a:p>
        </p:txBody>
      </p:sp>
      <p:sp>
        <p:nvSpPr>
          <p:cNvPr id="64" name="Rectangle 63"/>
          <p:cNvSpPr/>
          <p:nvPr/>
        </p:nvSpPr>
        <p:spPr>
          <a:xfrm>
            <a:off x="4363066" y="3573791"/>
            <a:ext cx="847205" cy="43952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Driver Script</a:t>
            </a:r>
          </a:p>
        </p:txBody>
      </p:sp>
      <p:sp>
        <p:nvSpPr>
          <p:cNvPr id="66" name="Rectangle 65"/>
          <p:cNvSpPr/>
          <p:nvPr/>
        </p:nvSpPr>
        <p:spPr>
          <a:xfrm>
            <a:off x="3063809" y="3574582"/>
            <a:ext cx="979218" cy="43873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File/Data Readers</a:t>
            </a:r>
            <a:endParaRPr lang="en-US" sz="1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2767130" y="4281055"/>
            <a:ext cx="3369427" cy="886691"/>
          </a:xfrm>
          <a:prstGeom prst="rect">
            <a:avLst/>
          </a:prstGeom>
          <a:solidFill>
            <a:schemeClr val="tx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2743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Integration Points</a:t>
            </a:r>
            <a:endParaRPr lang="en-US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2879352" y="4637350"/>
            <a:ext cx="82296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QC Metrics</a:t>
            </a:r>
          </a:p>
          <a:p>
            <a:pPr algn="ctr"/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Adapter</a:t>
            </a:r>
          </a:p>
        </p:txBody>
      </p:sp>
      <p:sp>
        <p:nvSpPr>
          <p:cNvPr id="74" name="Rectangle 73"/>
          <p:cNvSpPr/>
          <p:nvPr/>
        </p:nvSpPr>
        <p:spPr>
          <a:xfrm>
            <a:off x="3783886" y="4637350"/>
            <a:ext cx="82296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QC Defect Adapter</a:t>
            </a:r>
          </a:p>
        </p:txBody>
      </p:sp>
      <p:sp>
        <p:nvSpPr>
          <p:cNvPr id="76" name="Rectangle 75"/>
          <p:cNvSpPr/>
          <p:nvPr/>
        </p:nvSpPr>
        <p:spPr>
          <a:xfrm>
            <a:off x="5425440" y="4820230"/>
            <a:ext cx="822960" cy="27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i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… more</a:t>
            </a:r>
            <a:endParaRPr lang="en-US" sz="1200" i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4688421" y="4637350"/>
            <a:ext cx="750949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Reporting</a:t>
            </a:r>
          </a:p>
          <a:p>
            <a:pPr algn="ctr"/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odule</a:t>
            </a:r>
          </a:p>
        </p:txBody>
      </p:sp>
      <p:cxnSp>
        <p:nvCxnSpPr>
          <p:cNvPr id="78" name="Straight Connector 77"/>
          <p:cNvCxnSpPr>
            <a:stCxn id="17" idx="3"/>
            <a:endCxn id="66" idx="1"/>
          </p:cNvCxnSpPr>
          <p:nvPr/>
        </p:nvCxnSpPr>
        <p:spPr>
          <a:xfrm>
            <a:off x="2137791" y="3548149"/>
            <a:ext cx="926018" cy="245800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stCxn id="19" idx="3"/>
            <a:endCxn id="66" idx="1"/>
          </p:cNvCxnSpPr>
          <p:nvPr/>
        </p:nvCxnSpPr>
        <p:spPr>
          <a:xfrm flipV="1">
            <a:off x="2137791" y="3793949"/>
            <a:ext cx="926018" cy="523820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20" idx="3"/>
            <a:endCxn id="66" idx="1"/>
          </p:cNvCxnSpPr>
          <p:nvPr/>
        </p:nvCxnSpPr>
        <p:spPr>
          <a:xfrm flipV="1">
            <a:off x="2137791" y="3793949"/>
            <a:ext cx="926018" cy="1293440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4688421" y="3187541"/>
            <a:ext cx="0" cy="387041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>
            <a:stCxn id="70" idx="3"/>
            <a:endCxn id="120" idx="1"/>
          </p:cNvCxnSpPr>
          <p:nvPr/>
        </p:nvCxnSpPr>
        <p:spPr>
          <a:xfrm flipV="1">
            <a:off x="6136557" y="3747701"/>
            <a:ext cx="950043" cy="97670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>
            <a:stCxn id="70" idx="3"/>
            <a:endCxn id="13" idx="2"/>
          </p:cNvCxnSpPr>
          <p:nvPr/>
        </p:nvCxnSpPr>
        <p:spPr>
          <a:xfrm flipV="1">
            <a:off x="6136557" y="4724400"/>
            <a:ext cx="1102443" cy="1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01" name="TextBox 100"/>
          <p:cNvSpPr txBox="1"/>
          <p:nvPr/>
        </p:nvSpPr>
        <p:spPr>
          <a:xfrm>
            <a:off x="6390556" y="4495725"/>
            <a:ext cx="731520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 smtClean="0">
                <a:latin typeface="Calibri" panose="020F0502020204030204" pitchFamily="34" charset="0"/>
              </a:rPr>
              <a:t>Metrics</a:t>
            </a:r>
          </a:p>
          <a:p>
            <a:pPr algn="ctr"/>
            <a:r>
              <a:rPr lang="en-US" sz="1200" dirty="0" smtClean="0">
                <a:latin typeface="Calibri" panose="020F0502020204030204" pitchFamily="34" charset="0"/>
              </a:rPr>
              <a:t>Defect</a:t>
            </a:r>
            <a:endParaRPr lang="en-US" sz="1200" dirty="0">
              <a:latin typeface="Calibri" panose="020F0502020204030204" pitchFamily="34" charset="0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2755743" y="5355846"/>
            <a:ext cx="3380814" cy="609600"/>
          </a:xfrm>
          <a:prstGeom prst="rect">
            <a:avLst/>
          </a:prstGeom>
          <a:solidFill>
            <a:schemeClr val="tx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2743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Generic Library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2895600" y="5612155"/>
            <a:ext cx="822960" cy="27432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Excel I/O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3794761" y="5612155"/>
            <a:ext cx="822960" cy="27432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Snapshot</a:t>
            </a:r>
            <a:endParaRPr lang="en-US" sz="1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4686300" y="5612155"/>
            <a:ext cx="739140" cy="27432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Logging</a:t>
            </a:r>
            <a:endParaRPr lang="en-US" sz="1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5439370" y="5612155"/>
            <a:ext cx="822960" cy="2743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i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… more</a:t>
            </a:r>
            <a:endParaRPr lang="en-US" sz="1200" i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85469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ACCCA-BA74-4365-B59A-A0032200AB59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752475"/>
            <a:ext cx="6910388" cy="596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141133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4485547"/>
              </p:ext>
            </p:extLst>
          </p:nvPr>
        </p:nvGraphicFramePr>
        <p:xfrm>
          <a:off x="975361" y="1600200"/>
          <a:ext cx="1097280" cy="12192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97280"/>
              </a:tblGrid>
              <a:tr h="2351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Test</a:t>
                      </a:r>
                      <a:r>
                        <a:rPr lang="en-US" sz="1000" baseline="0" dirty="0" smtClean="0"/>
                        <a:t> Run</a:t>
                      </a:r>
                      <a:endParaRPr lang="en-US" sz="1000" dirty="0"/>
                    </a:p>
                  </a:txBody>
                  <a:tcPr anchor="ctr"/>
                </a:tc>
              </a:tr>
              <a:tr h="235131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/>
                        <a:t>Test Run ID</a:t>
                      </a:r>
                      <a:endParaRPr lang="en-US" sz="1000" dirty="0"/>
                    </a:p>
                  </a:txBody>
                  <a:tcPr anchor="ctr"/>
                </a:tc>
              </a:tr>
              <a:tr h="235131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 smtClean="0">
                          <a:solidFill>
                            <a:srgbClr val="C00000"/>
                          </a:solidFill>
                        </a:rPr>
                        <a:t>Test Case ID</a:t>
                      </a:r>
                      <a:endParaRPr lang="en-US" sz="1000" b="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35131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/>
                        <a:t>Passed / Failed</a:t>
                      </a:r>
                      <a:endParaRPr lang="en-US" sz="1000" dirty="0"/>
                    </a:p>
                  </a:txBody>
                  <a:tcPr anchor="ctr"/>
                </a:tc>
              </a:tr>
              <a:tr h="235131">
                <a:tc>
                  <a:txBody>
                    <a:bodyPr/>
                    <a:lstStyle/>
                    <a:p>
                      <a:pPr algn="l"/>
                      <a:r>
                        <a:rPr lang="en-US" sz="1000" b="0" i="1" dirty="0" smtClean="0"/>
                        <a:t>... more</a:t>
                      </a:r>
                      <a:endParaRPr lang="en-US" sz="1000" b="0" i="1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0262075"/>
              </p:ext>
            </p:extLst>
          </p:nvPr>
        </p:nvGraphicFramePr>
        <p:xfrm>
          <a:off x="960120" y="4648200"/>
          <a:ext cx="1188720" cy="9753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188720"/>
              </a:tblGrid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Test Case</a:t>
                      </a:r>
                      <a:endParaRPr lang="en-US" sz="1000" b="1" dirty="0"/>
                    </a:p>
                  </a:txBody>
                  <a:tcPr anchor="ctr"/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 smtClean="0">
                          <a:solidFill>
                            <a:srgbClr val="C00000"/>
                          </a:solidFill>
                        </a:rPr>
                        <a:t>Test Case ID</a:t>
                      </a:r>
                      <a:endParaRPr lang="en-US" sz="1000" b="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/>
                        <a:t>Test Case Name</a:t>
                      </a:r>
                      <a:endParaRPr lang="en-US" sz="1000" dirty="0"/>
                    </a:p>
                  </a:txBody>
                  <a:tcPr anchor="ctr"/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/>
                        <a:t>Auto Yes</a:t>
                      </a:r>
                      <a:r>
                        <a:rPr lang="en-US" sz="1000" baseline="0" dirty="0" smtClean="0"/>
                        <a:t> / No</a:t>
                      </a:r>
                      <a:endParaRPr lang="en-US" sz="1000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6367171"/>
              </p:ext>
            </p:extLst>
          </p:nvPr>
        </p:nvGraphicFramePr>
        <p:xfrm>
          <a:off x="2971800" y="3749040"/>
          <a:ext cx="1097280" cy="9753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97280"/>
              </a:tblGrid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Test Set</a:t>
                      </a:r>
                      <a:endParaRPr lang="en-US" sz="1000" dirty="0"/>
                    </a:p>
                  </a:txBody>
                  <a:tcPr anchor="ctr"/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/>
                        <a:t>Test Set</a:t>
                      </a:r>
                      <a:r>
                        <a:rPr lang="en-US" sz="1000" baseline="0" dirty="0" smtClean="0"/>
                        <a:t> ID</a:t>
                      </a:r>
                      <a:endParaRPr lang="en-US" sz="1000" dirty="0"/>
                    </a:p>
                  </a:txBody>
                  <a:tcPr anchor="ctr"/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 smtClean="0">
                          <a:solidFill>
                            <a:srgbClr val="C00000"/>
                          </a:solidFill>
                        </a:rPr>
                        <a:t>Test Case ID</a:t>
                      </a:r>
                      <a:endParaRPr lang="en-US" sz="1000" b="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/>
                        <a:t>Test Set Name</a:t>
                      </a:r>
                      <a:endParaRPr lang="en-US" sz="1000" dirty="0"/>
                    </a:p>
                  </a:txBody>
                  <a:tcPr anchor="ctr"/>
                </a:tc>
              </a:tr>
            </a:tbl>
          </a:graphicData>
        </a:graphic>
      </p:graphicFrame>
      <p:cxnSp>
        <p:nvCxnSpPr>
          <p:cNvPr id="12" name="Elbow Connector 11"/>
          <p:cNvCxnSpPr>
            <a:stCxn id="54" idx="1"/>
            <a:endCxn id="53" idx="1"/>
          </p:cNvCxnSpPr>
          <p:nvPr/>
        </p:nvCxnSpPr>
        <p:spPr>
          <a:xfrm rot="10800000" flipV="1">
            <a:off x="914400" y="2185416"/>
            <a:ext cx="12700" cy="2822448"/>
          </a:xfrm>
          <a:prstGeom prst="bentConnector3">
            <a:avLst>
              <a:gd name="adj1" fmla="val 180000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stCxn id="53" idx="3"/>
            <a:endCxn id="5" idx="1"/>
          </p:cNvCxnSpPr>
          <p:nvPr/>
        </p:nvCxnSpPr>
        <p:spPr>
          <a:xfrm flipV="1">
            <a:off x="2194560" y="4367784"/>
            <a:ext cx="701040" cy="64008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5" name="Rounded Rectangle 34"/>
          <p:cNvSpPr/>
          <p:nvPr/>
        </p:nvSpPr>
        <p:spPr>
          <a:xfrm>
            <a:off x="2819400" y="1905000"/>
            <a:ext cx="1371600" cy="304800"/>
          </a:xfrm>
          <a:prstGeom prst="roundRect">
            <a:avLst/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b="1" dirty="0">
                <a:solidFill>
                  <a:srgbClr val="FFFFFF"/>
                </a:solidFill>
              </a:rPr>
              <a:t>HP ALM API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2819400" y="2550852"/>
            <a:ext cx="609600" cy="555728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b="1" dirty="0">
                <a:solidFill>
                  <a:srgbClr val="007298"/>
                </a:solidFill>
              </a:rPr>
              <a:t>OTA</a:t>
            </a:r>
          </a:p>
          <a:p>
            <a:pPr algn="ctr"/>
            <a:r>
              <a:rPr lang="en-US" sz="1000" b="1" dirty="0">
                <a:solidFill>
                  <a:srgbClr val="007298"/>
                </a:solidFill>
              </a:rPr>
              <a:t>API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3581400" y="2550851"/>
            <a:ext cx="609600" cy="573349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b="1" dirty="0">
                <a:solidFill>
                  <a:srgbClr val="007298"/>
                </a:solidFill>
              </a:rPr>
              <a:t>REST</a:t>
            </a:r>
          </a:p>
          <a:p>
            <a:pPr algn="ctr"/>
            <a:r>
              <a:rPr lang="en-US" sz="1000" b="1" dirty="0">
                <a:solidFill>
                  <a:srgbClr val="007298"/>
                </a:solidFill>
              </a:rPr>
              <a:t>Service</a:t>
            </a:r>
          </a:p>
        </p:txBody>
      </p:sp>
      <p:cxnSp>
        <p:nvCxnSpPr>
          <p:cNvPr id="42" name="Elbow Connector 41"/>
          <p:cNvCxnSpPr>
            <a:stCxn id="38" idx="0"/>
            <a:endCxn id="35" idx="2"/>
          </p:cNvCxnSpPr>
          <p:nvPr/>
        </p:nvCxnSpPr>
        <p:spPr>
          <a:xfrm rot="5400000" flipH="1" flipV="1">
            <a:off x="3144174" y="2189826"/>
            <a:ext cx="341052" cy="381000"/>
          </a:xfrm>
          <a:prstGeom prst="bentConnector3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39" idx="0"/>
            <a:endCxn id="35" idx="2"/>
          </p:cNvCxnSpPr>
          <p:nvPr/>
        </p:nvCxnSpPr>
        <p:spPr>
          <a:xfrm rot="16200000" flipV="1">
            <a:off x="3525175" y="2189826"/>
            <a:ext cx="341051" cy="381000"/>
          </a:xfrm>
          <a:prstGeom prst="bentConnector3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5867400" y="3733800"/>
            <a:ext cx="2194560" cy="2118360"/>
          </a:xfrm>
          <a:prstGeom prst="rect">
            <a:avLst/>
          </a:prstGeom>
          <a:solidFill>
            <a:schemeClr val="tx2">
              <a:lumMod val="9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600" dirty="0">
              <a:solidFill>
                <a:srgbClr val="007298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867400" y="3733800"/>
            <a:ext cx="2194560" cy="3048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b="1" dirty="0">
                <a:solidFill>
                  <a:srgbClr val="FFFFFF"/>
                </a:solidFill>
              </a:rPr>
              <a:t>Automation Suite</a:t>
            </a:r>
          </a:p>
        </p:txBody>
      </p:sp>
      <p:sp>
        <p:nvSpPr>
          <p:cNvPr id="49" name="Rectangle 48"/>
          <p:cNvSpPr/>
          <p:nvPr/>
        </p:nvSpPr>
        <p:spPr>
          <a:xfrm>
            <a:off x="6172200" y="4191000"/>
            <a:ext cx="1600200" cy="301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b="1" dirty="0">
                <a:solidFill>
                  <a:srgbClr val="007298"/>
                </a:solidFill>
              </a:rPr>
              <a:t>Automation Script 1</a:t>
            </a:r>
          </a:p>
        </p:txBody>
      </p:sp>
      <p:sp>
        <p:nvSpPr>
          <p:cNvPr id="50" name="Rectangle 49"/>
          <p:cNvSpPr/>
          <p:nvPr/>
        </p:nvSpPr>
        <p:spPr>
          <a:xfrm>
            <a:off x="6172200" y="4492752"/>
            <a:ext cx="1600200" cy="301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b="1" dirty="0">
                <a:solidFill>
                  <a:srgbClr val="007298"/>
                </a:solidFill>
              </a:rPr>
              <a:t>Automation Script 2</a:t>
            </a:r>
          </a:p>
        </p:txBody>
      </p:sp>
      <p:sp>
        <p:nvSpPr>
          <p:cNvPr id="51" name="Rectangle 50"/>
          <p:cNvSpPr/>
          <p:nvPr/>
        </p:nvSpPr>
        <p:spPr>
          <a:xfrm>
            <a:off x="6172200" y="4794504"/>
            <a:ext cx="1600200" cy="301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b="1" dirty="0">
                <a:solidFill>
                  <a:srgbClr val="007298"/>
                </a:solidFill>
              </a:rPr>
              <a:t>Automation Script 3</a:t>
            </a:r>
          </a:p>
        </p:txBody>
      </p:sp>
      <p:sp>
        <p:nvSpPr>
          <p:cNvPr id="52" name="Rectangle 51"/>
          <p:cNvSpPr/>
          <p:nvPr/>
        </p:nvSpPr>
        <p:spPr>
          <a:xfrm>
            <a:off x="6172200" y="5096256"/>
            <a:ext cx="1600200" cy="301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b="1" dirty="0">
                <a:solidFill>
                  <a:srgbClr val="007298"/>
                </a:solidFill>
              </a:rPr>
              <a:t>…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4876800" y="3352800"/>
            <a:ext cx="3962400" cy="0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4191000" y="3886200"/>
            <a:ext cx="164592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0" name="Elbow Connector 79"/>
          <p:cNvCxnSpPr>
            <a:stCxn id="49" idx="1"/>
            <a:endCxn id="9" idx="2"/>
          </p:cNvCxnSpPr>
          <p:nvPr/>
        </p:nvCxnSpPr>
        <p:spPr>
          <a:xfrm rot="10800000" flipV="1">
            <a:off x="1554480" y="4341876"/>
            <a:ext cx="4617720" cy="1281684"/>
          </a:xfrm>
          <a:prstGeom prst="bentConnector4">
            <a:avLst>
              <a:gd name="adj1" fmla="val 20874"/>
              <a:gd name="adj2" fmla="val 117836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2971800" y="5729050"/>
            <a:ext cx="91440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007298"/>
                </a:solidFill>
              </a:rPr>
              <a:t>1:1 mapping</a:t>
            </a:r>
          </a:p>
        </p:txBody>
      </p:sp>
      <p:sp>
        <p:nvSpPr>
          <p:cNvPr id="97" name="Rectangle 96"/>
          <p:cNvSpPr/>
          <p:nvPr/>
        </p:nvSpPr>
        <p:spPr>
          <a:xfrm>
            <a:off x="533400" y="838200"/>
            <a:ext cx="4191000" cy="5334000"/>
          </a:xfrm>
          <a:prstGeom prst="rect">
            <a:avLst/>
          </a:prstGeom>
          <a:noFill/>
          <a:ln w="12700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600" dirty="0">
              <a:ln>
                <a:solidFill>
                  <a:srgbClr val="007298"/>
                </a:solidFill>
              </a:ln>
              <a:solidFill>
                <a:srgbClr val="007298"/>
              </a:solidFill>
            </a:endParaRPr>
          </a:p>
        </p:txBody>
      </p:sp>
      <p:pic>
        <p:nvPicPr>
          <p:cNvPr id="98" name="Picture 97" descr="Screen Clippi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" y="864186"/>
            <a:ext cx="2560320" cy="431214"/>
          </a:xfrm>
          <a:prstGeom prst="rect">
            <a:avLst/>
          </a:prstGeom>
        </p:spPr>
      </p:pic>
      <p:sp>
        <p:nvSpPr>
          <p:cNvPr id="104" name="TextBox 103"/>
          <p:cNvSpPr txBox="1"/>
          <p:nvPr/>
        </p:nvSpPr>
        <p:spPr>
          <a:xfrm>
            <a:off x="5806440" y="2209800"/>
            <a:ext cx="26517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u="sng" dirty="0">
                <a:solidFill>
                  <a:srgbClr val="007298"/>
                </a:solidFill>
              </a:rPr>
              <a:t>Automation </a:t>
            </a:r>
            <a:r>
              <a:rPr lang="en-US" sz="1000" b="1" i="1" u="sng" dirty="0" smtClean="0">
                <a:solidFill>
                  <a:srgbClr val="007298"/>
                </a:solidFill>
              </a:rPr>
              <a:t>Tools &amp; New Framework</a:t>
            </a:r>
            <a:endParaRPr lang="en-US" sz="1000" b="1" i="1" u="sng" dirty="0">
              <a:solidFill>
                <a:srgbClr val="007298"/>
              </a:solidFill>
            </a:endParaRPr>
          </a:p>
        </p:txBody>
      </p:sp>
      <p:pic>
        <p:nvPicPr>
          <p:cNvPr id="134156" name="Picture 12" descr="Image result for hp uft logo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080" y="2432249"/>
            <a:ext cx="548640" cy="548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158" name="Picture 14" descr="Image result for ranorex logo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1804" y="2440781"/>
            <a:ext cx="54864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Right Brace 113"/>
          <p:cNvSpPr/>
          <p:nvPr/>
        </p:nvSpPr>
        <p:spPr>
          <a:xfrm rot="5400000">
            <a:off x="6774775" y="2343151"/>
            <a:ext cx="368974" cy="2235875"/>
          </a:xfrm>
          <a:prstGeom prst="rightBrace">
            <a:avLst>
              <a:gd name="adj1" fmla="val 8332"/>
              <a:gd name="adj2" fmla="val 49912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4" name="Rectangle 133"/>
          <p:cNvSpPr/>
          <p:nvPr/>
        </p:nvSpPr>
        <p:spPr>
          <a:xfrm>
            <a:off x="6172200" y="5387341"/>
            <a:ext cx="1600200" cy="301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b="1" dirty="0">
                <a:solidFill>
                  <a:srgbClr val="007298"/>
                </a:solidFill>
              </a:rPr>
              <a:t>Automation Script 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895600" y="4239768"/>
            <a:ext cx="1470660" cy="256032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600" dirty="0">
              <a:solidFill>
                <a:srgbClr val="007298"/>
              </a:solidFill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914400" y="4879848"/>
            <a:ext cx="1280160" cy="256032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600" dirty="0">
              <a:solidFill>
                <a:srgbClr val="007298"/>
              </a:solidFill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914400" y="2057400"/>
            <a:ext cx="1371600" cy="256032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600" dirty="0">
              <a:solidFill>
                <a:srgbClr val="007298"/>
              </a:solidFill>
            </a:endParaRPr>
          </a:p>
        </p:txBody>
      </p:sp>
      <p:pic>
        <p:nvPicPr>
          <p:cNvPr id="137220" name="Picture 4" descr="Image result for selenium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360" y="2468880"/>
            <a:ext cx="548640" cy="49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/>
          <p:cNvSpPr txBox="1"/>
          <p:nvPr/>
        </p:nvSpPr>
        <p:spPr>
          <a:xfrm>
            <a:off x="5821680" y="2882741"/>
            <a:ext cx="731520" cy="182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A2F5D"/>
                </a:solidFill>
              </a:rPr>
              <a:t>Selenium</a:t>
            </a:r>
          </a:p>
        </p:txBody>
      </p:sp>
      <p:graphicFrame>
        <p:nvGraphicFramePr>
          <p:cNvPr id="59" name="Table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7657262"/>
              </p:ext>
            </p:extLst>
          </p:nvPr>
        </p:nvGraphicFramePr>
        <p:xfrm>
          <a:off x="975361" y="3200400"/>
          <a:ext cx="1097280" cy="12192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97280"/>
              </a:tblGrid>
              <a:tr h="2351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Test Step</a:t>
                      </a:r>
                      <a:endParaRPr lang="en-US" sz="1000" dirty="0"/>
                    </a:p>
                  </a:txBody>
                  <a:tcPr anchor="ctr"/>
                </a:tc>
              </a:tr>
              <a:tr h="235131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/>
                        <a:t>Description</a:t>
                      </a:r>
                      <a:endParaRPr lang="en-US" sz="1000" dirty="0"/>
                    </a:p>
                  </a:txBody>
                  <a:tcPr anchor="ctr"/>
                </a:tc>
              </a:tr>
              <a:tr h="235131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/>
                        <a:t>Passed / Failed</a:t>
                      </a:r>
                      <a:endParaRPr lang="en-US" sz="1000" dirty="0"/>
                    </a:p>
                  </a:txBody>
                  <a:tcPr anchor="ctr"/>
                </a:tc>
              </a:tr>
              <a:tr h="235131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 smtClean="0"/>
                        <a:t>Expected</a:t>
                      </a:r>
                      <a:endParaRPr lang="en-US" sz="1000" b="0" dirty="0"/>
                    </a:p>
                  </a:txBody>
                  <a:tcPr anchor="ctr"/>
                </a:tc>
              </a:tr>
              <a:tr h="235131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/>
                        <a:t>Actual</a:t>
                      </a:r>
                      <a:endParaRPr lang="en-US" sz="1000" dirty="0"/>
                    </a:p>
                  </a:txBody>
                  <a:tcPr anchor="ctr"/>
                </a:tc>
              </a:tr>
            </a:tbl>
          </a:graphicData>
        </a:graphic>
      </p:graphicFrame>
      <p:cxnSp>
        <p:nvCxnSpPr>
          <p:cNvPr id="18" name="Straight Connector 17"/>
          <p:cNvCxnSpPr>
            <a:stCxn id="8" idx="2"/>
            <a:endCxn id="59" idx="0"/>
          </p:cNvCxnSpPr>
          <p:nvPr/>
        </p:nvCxnSpPr>
        <p:spPr>
          <a:xfrm>
            <a:off x="1524001" y="2819400"/>
            <a:ext cx="0" cy="381000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arrow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1524000" y="2877979"/>
            <a:ext cx="975361" cy="24622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007298"/>
                </a:solidFill>
              </a:rPr>
              <a:t>multiple steps</a:t>
            </a:r>
          </a:p>
        </p:txBody>
      </p:sp>
      <p:sp>
        <p:nvSpPr>
          <p:cNvPr id="60" name="Title 1"/>
          <p:cNvSpPr txBox="1">
            <a:spLocks/>
          </p:cNvSpPr>
          <p:nvPr/>
        </p:nvSpPr>
        <p:spPr>
          <a:xfrm>
            <a:off x="460249" y="381000"/>
            <a:ext cx="8226552" cy="301752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srgbClr val="007298"/>
                </a:solidFill>
              </a:rPr>
              <a:t>Consistent Metrics in HP QC</a:t>
            </a:r>
            <a:endParaRPr lang="en-US" dirty="0">
              <a:solidFill>
                <a:srgbClr val="007298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659880" y="2895600"/>
            <a:ext cx="7315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A2F5D"/>
                </a:solidFill>
              </a:rPr>
              <a:t>UFT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7421880" y="2893353"/>
            <a:ext cx="7315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AA1A33"/>
                </a:solidFill>
              </a:rPr>
              <a:t>Ranorex</a:t>
            </a:r>
          </a:p>
        </p:txBody>
      </p:sp>
      <p:cxnSp>
        <p:nvCxnSpPr>
          <p:cNvPr id="64" name="Straight Connector 63"/>
          <p:cNvCxnSpPr/>
          <p:nvPr/>
        </p:nvCxnSpPr>
        <p:spPr>
          <a:xfrm>
            <a:off x="4953000" y="2057400"/>
            <a:ext cx="3962400" cy="0"/>
          </a:xfrm>
          <a:prstGeom prst="line">
            <a:avLst/>
          </a:prstGeom>
          <a:ln w="127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Elbow Connector 3"/>
          <p:cNvCxnSpPr>
            <a:endCxn id="35" idx="3"/>
          </p:cNvCxnSpPr>
          <p:nvPr/>
        </p:nvCxnSpPr>
        <p:spPr>
          <a:xfrm rot="10800000">
            <a:off x="4191000" y="2057400"/>
            <a:ext cx="1447800" cy="659740"/>
          </a:xfrm>
          <a:prstGeom prst="bentConnector3">
            <a:avLst>
              <a:gd name="adj1" fmla="val 76555"/>
            </a:avLst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2194560" y="2057400"/>
            <a:ext cx="548640" cy="0"/>
          </a:xfrm>
          <a:prstGeom prst="straightConnector1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4876800" y="1186473"/>
            <a:ext cx="3276600" cy="457200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600" dirty="0">
              <a:solidFill>
                <a:srgbClr val="007298"/>
              </a:solidFill>
            </a:endParaRPr>
          </a:p>
        </p:txBody>
      </p:sp>
      <p:pic>
        <p:nvPicPr>
          <p:cNvPr id="152578" name="Picture 2" descr="C:\Users\e458567\Desktop\Icons\meeting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46"/>
          <a:stretch/>
        </p:blipFill>
        <p:spPr bwMode="auto">
          <a:xfrm>
            <a:off x="6172200" y="914400"/>
            <a:ext cx="914400" cy="729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TextBox 64"/>
          <p:cNvSpPr txBox="1"/>
          <p:nvPr/>
        </p:nvSpPr>
        <p:spPr>
          <a:xfrm>
            <a:off x="6309360" y="833572"/>
            <a:ext cx="1844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u="sng" dirty="0" smtClean="0">
                <a:solidFill>
                  <a:srgbClr val="007298"/>
                </a:solidFill>
              </a:rPr>
              <a:t>QA Team</a:t>
            </a:r>
            <a:endParaRPr lang="en-US" sz="1000" b="1" i="1" u="sng" dirty="0">
              <a:solidFill>
                <a:srgbClr val="007298"/>
              </a:solidFill>
            </a:endParaRPr>
          </a:p>
        </p:txBody>
      </p:sp>
      <p:cxnSp>
        <p:nvCxnSpPr>
          <p:cNvPr id="17" name="Straight Arrow Connector 16"/>
          <p:cNvCxnSpPr>
            <a:stCxn id="152578" idx="2"/>
          </p:cNvCxnSpPr>
          <p:nvPr/>
        </p:nvCxnSpPr>
        <p:spPr>
          <a:xfrm>
            <a:off x="6629400" y="1643673"/>
            <a:ext cx="0" cy="413727"/>
          </a:xfrm>
          <a:prstGeom prst="straightConnector1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6614160" y="1690255"/>
            <a:ext cx="1844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7298"/>
                </a:solidFill>
              </a:rPr>
              <a:t>Implement</a:t>
            </a:r>
            <a:endParaRPr lang="en-US" sz="1000" b="1" dirty="0">
              <a:solidFill>
                <a:srgbClr val="007298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698076" y="2759630"/>
            <a:ext cx="1844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7298"/>
                </a:solidFill>
              </a:rPr>
              <a:t>Metrics</a:t>
            </a:r>
            <a:endParaRPr lang="en-US" sz="1000" b="1" dirty="0">
              <a:solidFill>
                <a:srgbClr val="007298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4495800" y="3747850"/>
            <a:ext cx="91440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007298"/>
                </a:solidFill>
              </a:rPr>
              <a:t>1:1 mapping</a:t>
            </a:r>
          </a:p>
        </p:txBody>
      </p:sp>
      <p:cxnSp>
        <p:nvCxnSpPr>
          <p:cNvPr id="24" name="Straight Arrow Connector 23"/>
          <p:cNvCxnSpPr>
            <a:stCxn id="30" idx="3"/>
            <a:endCxn id="152578" idx="1"/>
          </p:cNvCxnSpPr>
          <p:nvPr/>
        </p:nvCxnSpPr>
        <p:spPr>
          <a:xfrm>
            <a:off x="5022273" y="1279037"/>
            <a:ext cx="1149927" cy="0"/>
          </a:xfrm>
          <a:prstGeom prst="straightConnector1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5181600" y="1049179"/>
            <a:ext cx="1844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7298"/>
                </a:solidFill>
              </a:rPr>
              <a:t>Analytics</a:t>
            </a:r>
            <a:endParaRPr lang="en-US" sz="1000" b="1" dirty="0">
              <a:solidFill>
                <a:srgbClr val="007298"/>
              </a:solidFill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4199313" y="1050437"/>
            <a:ext cx="822960" cy="457200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QC User Interface</a:t>
            </a:r>
          </a:p>
        </p:txBody>
      </p:sp>
      <p:sp>
        <p:nvSpPr>
          <p:cNvPr id="34" name="Rounded Rectangular Callout 33"/>
          <p:cNvSpPr/>
          <p:nvPr/>
        </p:nvSpPr>
        <p:spPr>
          <a:xfrm>
            <a:off x="7391400" y="762000"/>
            <a:ext cx="1554480" cy="731520"/>
          </a:xfrm>
          <a:prstGeom prst="wedgeRoundRectCallout">
            <a:avLst>
              <a:gd name="adj1" fmla="val -51416"/>
              <a:gd name="adj2" fmla="val 82132"/>
              <a:gd name="adj3" fmla="val 16667"/>
            </a:avLst>
          </a:prstGeom>
          <a:solidFill>
            <a:srgbClr val="FFFF00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000" dirty="0" smtClean="0">
                <a:solidFill>
                  <a:schemeClr val="accent1"/>
                </a:solidFill>
              </a:rPr>
              <a:t>Implementation is transparent from test management’s point of view in HP QC</a:t>
            </a:r>
          </a:p>
        </p:txBody>
      </p:sp>
    </p:spTree>
    <p:extLst>
      <p:ext uri="{BB962C8B-B14F-4D97-AF65-F5344CB8AC3E}">
        <p14:creationId xmlns:p14="http://schemas.microsoft.com/office/powerpoint/2010/main" val="305374699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D / Automation End to End Workflow</a:t>
            </a:r>
            <a:br>
              <a:rPr lang="en-US" dirty="0"/>
            </a:br>
            <a:endParaRPr lang="en-US" dirty="0"/>
          </a:p>
        </p:txBody>
      </p:sp>
      <p:grpSp>
        <p:nvGrpSpPr>
          <p:cNvPr id="59" name="Group 58"/>
          <p:cNvGrpSpPr/>
          <p:nvPr/>
        </p:nvGrpSpPr>
        <p:grpSpPr>
          <a:xfrm>
            <a:off x="990600" y="914400"/>
            <a:ext cx="6553200" cy="5334000"/>
            <a:chOff x="3505200" y="914400"/>
            <a:chExt cx="5715000" cy="5334000"/>
          </a:xfrm>
        </p:grpSpPr>
        <p:sp>
          <p:nvSpPr>
            <p:cNvPr id="58" name="Rectangle 57"/>
            <p:cNvSpPr/>
            <p:nvPr/>
          </p:nvSpPr>
          <p:spPr>
            <a:xfrm>
              <a:off x="3505200" y="914400"/>
              <a:ext cx="5562600" cy="533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600" dirty="0" smtClean="0">
                <a:solidFill>
                  <a:schemeClr val="accent1"/>
                </a:solidFill>
              </a:endParaRPr>
            </a:p>
          </p:txBody>
        </p:sp>
        <p:sp>
          <p:nvSpPr>
            <p:cNvPr id="137238" name="Rectangle 137237"/>
            <p:cNvSpPr/>
            <p:nvPr/>
          </p:nvSpPr>
          <p:spPr>
            <a:xfrm>
              <a:off x="5181600" y="1676400"/>
              <a:ext cx="1524000" cy="54864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Agile Requirement Designer (ARD)</a:t>
              </a:r>
            </a:p>
          </p:txBody>
        </p:sp>
        <p:sp>
          <p:nvSpPr>
            <p:cNvPr id="137240" name="Can 137239"/>
            <p:cNvSpPr/>
            <p:nvPr/>
          </p:nvSpPr>
          <p:spPr>
            <a:xfrm>
              <a:off x="7620000" y="1676400"/>
              <a:ext cx="838200" cy="548640"/>
            </a:xfrm>
            <a:prstGeom prst="can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ARIS</a:t>
              </a:r>
            </a:p>
          </p:txBody>
        </p:sp>
        <p:pic>
          <p:nvPicPr>
            <p:cNvPr id="137241" name="Picture 5" descr="C:\Users\e458567\Desktop\Icons\excel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0457" y="2677160"/>
              <a:ext cx="1306286" cy="731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Rectangle 61"/>
            <p:cNvSpPr/>
            <p:nvPr/>
          </p:nvSpPr>
          <p:spPr>
            <a:xfrm>
              <a:off x="5181600" y="3860800"/>
              <a:ext cx="1524000" cy="54864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Automation 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Framework</a:t>
              </a:r>
              <a:endParaRPr lang="en-US" sz="1200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5181600" y="4861560"/>
              <a:ext cx="1524000" cy="54864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  <a:latin typeface="Calibri" panose="020F0502020204030204" pitchFamily="34" charset="0"/>
                </a:rPr>
                <a:t>HP Quality </a:t>
              </a:r>
              <a:endParaRPr lang="en-US" sz="1200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Center </a:t>
              </a:r>
              <a:r>
                <a:rPr lang="en-US" sz="1200" dirty="0">
                  <a:solidFill>
                    <a:schemeClr val="tx1"/>
                  </a:solidFill>
                  <a:latin typeface="Calibri" panose="020F0502020204030204" pitchFamily="34" charset="0"/>
                </a:rPr>
                <a:t>(QC)</a:t>
              </a:r>
            </a:p>
          </p:txBody>
        </p:sp>
        <p:cxnSp>
          <p:nvCxnSpPr>
            <p:cNvPr id="137244" name="Straight Arrow Connector 137243"/>
            <p:cNvCxnSpPr>
              <a:stCxn id="137238" idx="3"/>
              <a:endCxn id="137240" idx="2"/>
            </p:cNvCxnSpPr>
            <p:nvPr/>
          </p:nvCxnSpPr>
          <p:spPr>
            <a:xfrm>
              <a:off x="6705600" y="1950720"/>
              <a:ext cx="914400" cy="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37245" name="TextBox 137244"/>
            <p:cNvSpPr txBox="1"/>
            <p:nvPr/>
          </p:nvSpPr>
          <p:spPr>
            <a:xfrm>
              <a:off x="6858000" y="1704201"/>
              <a:ext cx="6096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Calibri" panose="020F0502020204030204" pitchFamily="34" charset="0"/>
                </a:rPr>
                <a:t>Model</a:t>
              </a:r>
              <a:endParaRPr lang="en-US" sz="1200" dirty="0">
                <a:latin typeface="Calibri" panose="020F0502020204030204" pitchFamily="34" charset="0"/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6812622" y="2738735"/>
              <a:ext cx="2407578" cy="461665"/>
              <a:chOff x="6705600" y="2738735"/>
              <a:chExt cx="2407578" cy="461665"/>
            </a:xfrm>
          </p:grpSpPr>
          <p:sp>
            <p:nvSpPr>
              <p:cNvPr id="69" name="TextBox 68"/>
              <p:cNvSpPr txBox="1"/>
              <p:nvPr/>
            </p:nvSpPr>
            <p:spPr>
              <a:xfrm>
                <a:off x="6858000" y="2738735"/>
                <a:ext cx="225517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>
                    <a:latin typeface="Calibri" panose="020F0502020204030204" pitchFamily="34" charset="0"/>
                  </a:rPr>
                  <a:t>Easy for human to read / edit</a:t>
                </a:r>
              </a:p>
              <a:p>
                <a:r>
                  <a:rPr lang="en-US" sz="1200" dirty="0" smtClean="0">
                    <a:latin typeface="Calibri" panose="020F0502020204030204" pitchFamily="34" charset="0"/>
                  </a:rPr>
                  <a:t>Easy for automation to parse</a:t>
                </a:r>
                <a:endParaRPr lang="en-US" sz="1200" dirty="0">
                  <a:latin typeface="Calibri" panose="020F0502020204030204" pitchFamily="34" charset="0"/>
                </a:endParaRPr>
              </a:p>
            </p:txBody>
          </p:sp>
          <p:cxnSp>
            <p:nvCxnSpPr>
              <p:cNvPr id="137247" name="Straight Connector 137246"/>
              <p:cNvCxnSpPr>
                <a:endCxn id="69" idx="1"/>
              </p:cNvCxnSpPr>
              <p:nvPr/>
            </p:nvCxnSpPr>
            <p:spPr>
              <a:xfrm>
                <a:off x="6705600" y="2969567"/>
                <a:ext cx="152400" cy="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cxnSp>
          <p:nvCxnSpPr>
            <p:cNvPr id="33" name="Straight Arrow Connector 32"/>
            <p:cNvCxnSpPr>
              <a:stCxn id="137238" idx="2"/>
              <a:endCxn id="137241" idx="0"/>
            </p:cNvCxnSpPr>
            <p:nvPr/>
          </p:nvCxnSpPr>
          <p:spPr>
            <a:xfrm>
              <a:off x="5943600" y="2225040"/>
              <a:ext cx="0" cy="45212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grpSp>
          <p:nvGrpSpPr>
            <p:cNvPr id="78" name="Group 77"/>
            <p:cNvGrpSpPr/>
            <p:nvPr/>
          </p:nvGrpSpPr>
          <p:grpSpPr>
            <a:xfrm>
              <a:off x="6812622" y="3753492"/>
              <a:ext cx="2407578" cy="646331"/>
              <a:chOff x="6705600" y="2738735"/>
              <a:chExt cx="2407578" cy="646331"/>
            </a:xfrm>
          </p:grpSpPr>
          <p:sp>
            <p:nvSpPr>
              <p:cNvPr id="79" name="TextBox 78"/>
              <p:cNvSpPr txBox="1"/>
              <p:nvPr/>
            </p:nvSpPr>
            <p:spPr>
              <a:xfrm>
                <a:off x="6858000" y="2738735"/>
                <a:ext cx="225517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>
                    <a:latin typeface="Calibri" panose="020F0502020204030204" pitchFamily="34" charset="0"/>
                  </a:rPr>
                  <a:t>Support existing UFT / Ranorex</a:t>
                </a:r>
              </a:p>
              <a:p>
                <a:r>
                  <a:rPr lang="en-US" sz="1200" dirty="0" smtClean="0">
                    <a:latin typeface="Calibri" panose="020F0502020204030204" pitchFamily="34" charset="0"/>
                  </a:rPr>
                  <a:t>Support open source Selenium</a:t>
                </a:r>
              </a:p>
              <a:p>
                <a:r>
                  <a:rPr lang="en-US" sz="1200" dirty="0" smtClean="0">
                    <a:latin typeface="Calibri" panose="020F0502020204030204" pitchFamily="34" charset="0"/>
                  </a:rPr>
                  <a:t>Standard inputs / keywords</a:t>
                </a:r>
              </a:p>
            </p:txBody>
          </p:sp>
          <p:cxnSp>
            <p:nvCxnSpPr>
              <p:cNvPr id="80" name="Straight Connector 79"/>
              <p:cNvCxnSpPr>
                <a:endCxn id="79" idx="1"/>
              </p:cNvCxnSpPr>
              <p:nvPr/>
            </p:nvCxnSpPr>
            <p:spPr>
              <a:xfrm flipV="1">
                <a:off x="6705600" y="3061901"/>
                <a:ext cx="152400" cy="216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cxnSp>
          <p:nvCxnSpPr>
            <p:cNvPr id="39" name="Straight Arrow Connector 38"/>
            <p:cNvCxnSpPr>
              <a:stCxn id="137241" idx="2"/>
              <a:endCxn id="62" idx="0"/>
            </p:cNvCxnSpPr>
            <p:nvPr/>
          </p:nvCxnSpPr>
          <p:spPr>
            <a:xfrm>
              <a:off x="5943600" y="3408680"/>
              <a:ext cx="0" cy="45212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>
              <a:stCxn id="62" idx="2"/>
              <a:endCxn id="63" idx="0"/>
            </p:cNvCxnSpPr>
            <p:nvPr/>
          </p:nvCxnSpPr>
          <p:spPr>
            <a:xfrm>
              <a:off x="5943600" y="4409440"/>
              <a:ext cx="0" cy="45212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grpSp>
          <p:nvGrpSpPr>
            <p:cNvPr id="91" name="Group 90"/>
            <p:cNvGrpSpPr/>
            <p:nvPr/>
          </p:nvGrpSpPr>
          <p:grpSpPr>
            <a:xfrm>
              <a:off x="6812622" y="4840069"/>
              <a:ext cx="2405866" cy="646331"/>
              <a:chOff x="6707312" y="2738735"/>
              <a:chExt cx="2405866" cy="646331"/>
            </a:xfrm>
          </p:grpSpPr>
          <p:sp>
            <p:nvSpPr>
              <p:cNvPr id="92" name="TextBox 91"/>
              <p:cNvSpPr txBox="1"/>
              <p:nvPr/>
            </p:nvSpPr>
            <p:spPr>
              <a:xfrm>
                <a:off x="6858000" y="2738735"/>
                <a:ext cx="225517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>
                    <a:latin typeface="Calibri" panose="020F0502020204030204" pitchFamily="34" charset="0"/>
                  </a:rPr>
                  <a:t>Upload test result metrics</a:t>
                </a:r>
              </a:p>
              <a:p>
                <a:r>
                  <a:rPr lang="en-US" sz="1200" dirty="0" smtClean="0">
                    <a:latin typeface="Calibri" panose="020F0502020204030204" pitchFamily="34" charset="0"/>
                  </a:rPr>
                  <a:t>Attach runtime screenshots</a:t>
                </a:r>
              </a:p>
              <a:p>
                <a:r>
                  <a:rPr lang="en-US" sz="1200" dirty="0" smtClean="0">
                    <a:latin typeface="Calibri" panose="020F0502020204030204" pitchFamily="34" charset="0"/>
                  </a:rPr>
                  <a:t>Log test defects </a:t>
                </a:r>
                <a:endParaRPr lang="en-US" sz="1200" dirty="0">
                  <a:latin typeface="Calibri" panose="020F0502020204030204" pitchFamily="34" charset="0"/>
                </a:endParaRPr>
              </a:p>
            </p:txBody>
          </p:sp>
          <p:cxnSp>
            <p:nvCxnSpPr>
              <p:cNvPr id="93" name="Straight Connector 92"/>
              <p:cNvCxnSpPr>
                <a:endCxn id="92" idx="1"/>
              </p:cNvCxnSpPr>
              <p:nvPr/>
            </p:nvCxnSpPr>
            <p:spPr>
              <a:xfrm>
                <a:off x="6707312" y="3061900"/>
                <a:ext cx="150688" cy="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46" name="Left Brace 45"/>
            <p:cNvSpPr/>
            <p:nvPr/>
          </p:nvSpPr>
          <p:spPr>
            <a:xfrm>
              <a:off x="4800600" y="1981200"/>
              <a:ext cx="228600" cy="1061720"/>
            </a:xfrm>
            <a:prstGeom prst="leftBrac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733800" y="2362200"/>
              <a:ext cx="1143000" cy="276999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/>
              <a:r>
                <a:rPr lang="en-US" sz="1200" dirty="0" smtClean="0">
                  <a:latin typeface="Calibri" panose="020F0502020204030204" pitchFamily="34" charset="0"/>
                </a:rPr>
                <a:t>TDM Program</a:t>
              </a:r>
            </a:p>
          </p:txBody>
        </p:sp>
        <p:sp>
          <p:nvSpPr>
            <p:cNvPr id="97" name="Left Brace 96"/>
            <p:cNvSpPr/>
            <p:nvPr/>
          </p:nvSpPr>
          <p:spPr>
            <a:xfrm>
              <a:off x="4800600" y="3222631"/>
              <a:ext cx="228600" cy="1940603"/>
            </a:xfrm>
            <a:prstGeom prst="leftBrac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3733800" y="4038600"/>
              <a:ext cx="1066800" cy="276999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/>
              <a:r>
                <a:rPr lang="en-US" sz="1200" dirty="0" smtClean="0">
                  <a:latin typeface="Calibri" panose="020F0502020204030204" pitchFamily="34" charset="0"/>
                </a:rPr>
                <a:t>Automation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5237680" y="990600"/>
              <a:ext cx="18489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Calibri" panose="020F0502020204030204" pitchFamily="34" charset="0"/>
                </a:rPr>
                <a:t>Start model based test case design from ARD </a:t>
              </a:r>
              <a:endParaRPr lang="en-US" sz="1200" dirty="0">
                <a:latin typeface="Calibri" panose="020F0502020204030204" pitchFamily="34" charset="0"/>
              </a:endParaRPr>
            </a:p>
          </p:txBody>
        </p:sp>
        <p:cxnSp>
          <p:nvCxnSpPr>
            <p:cNvPr id="52" name="Straight Arrow Connector 51"/>
            <p:cNvCxnSpPr>
              <a:endCxn id="137238" idx="0"/>
            </p:cNvCxnSpPr>
            <p:nvPr/>
          </p:nvCxnSpPr>
          <p:spPr>
            <a:xfrm>
              <a:off x="5943600" y="1452265"/>
              <a:ext cx="0" cy="224135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Straight Arrow Connector 56"/>
            <p:cNvCxnSpPr>
              <a:stCxn id="63" idx="2"/>
            </p:cNvCxnSpPr>
            <p:nvPr/>
          </p:nvCxnSpPr>
          <p:spPr>
            <a:xfrm>
              <a:off x="5943600" y="5410200"/>
              <a:ext cx="0" cy="4572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07" name="TextBox 106"/>
            <p:cNvSpPr txBox="1"/>
            <p:nvPr/>
          </p:nvSpPr>
          <p:spPr>
            <a:xfrm>
              <a:off x="5257800" y="5871681"/>
              <a:ext cx="184892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latin typeface="Calibri" panose="020F0502020204030204" pitchFamily="34" charset="0"/>
                </a:rPr>
                <a:t>TaskTop Sync to RTC</a:t>
              </a:r>
              <a:endParaRPr lang="en-US" sz="1200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035705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525963"/>
          </a:xfrm>
        </p:spPr>
        <p:txBody>
          <a:bodyPr/>
          <a:lstStyle/>
          <a:p>
            <a:pPr lvl="1">
              <a:buFont typeface="Wingdings" panose="05000000000000000000" pitchFamily="2" charset="2"/>
              <a:buChar char="Ø"/>
            </a:pPr>
            <a:r>
              <a:rPr lang="en-US" dirty="0" smtClean="0"/>
              <a:t>Lightweigh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smtClean="0"/>
              <a:t>Support Multiple Languages: VBS, VB.NET, Java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smtClean="0"/>
              <a:t>Same API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smtClean="0"/>
              <a:t>Reusable librar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Provide default </a:t>
            </a:r>
            <a:r>
              <a:rPr lang="en-US" dirty="0" smtClean="0"/>
              <a:t>templat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smtClean="0"/>
              <a:t>Executable </a:t>
            </a:r>
            <a:r>
              <a:rPr lang="en-US" dirty="0"/>
              <a:t>Sample </a:t>
            </a:r>
            <a:r>
              <a:rPr lang="en-US" dirty="0" smtClean="0"/>
              <a:t>Projec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smtClean="0"/>
              <a:t>Portable </a:t>
            </a:r>
            <a:r>
              <a:rPr lang="en-US" dirty="0"/>
              <a:t>&amp; </a:t>
            </a:r>
            <a:r>
              <a:rPr lang="en-US" dirty="0" smtClean="0"/>
              <a:t>Extensibl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smtClean="0"/>
              <a:t>Integrate with HP ALM (QC)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smtClean="0"/>
              <a:t>Integrate with TDM/ARD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ACCCA-BA74-4365-B59A-A0032200AB59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63261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6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7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8600" y="622300"/>
            <a:ext cx="8581292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50000"/>
              </a:spcBef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sz="2800" b="1" kern="0" dirty="0" smtClean="0">
                <a:latin typeface="Calibri" panose="020F0502020204030204" pitchFamily="34" charset="0"/>
                <a:ea typeface="+mj-ea"/>
                <a:cs typeface="+mj-cs"/>
              </a:rPr>
              <a:t>GQS Automation </a:t>
            </a:r>
            <a:r>
              <a:rPr lang="en-US" sz="2800" b="1" kern="0" dirty="0">
                <a:latin typeface="Calibri" panose="020F0502020204030204" pitchFamily="34" charset="0"/>
                <a:ea typeface="+mj-ea"/>
                <a:cs typeface="+mj-cs"/>
              </a:rPr>
              <a:t>Framework</a:t>
            </a:r>
            <a:endParaRPr lang="en-US" altLang="en-US" sz="2800" b="1" kern="0" dirty="0">
              <a:latin typeface="Calibri" panose="020F0502020204030204" pitchFamily="34" charset="0"/>
              <a:ea typeface="+mj-ea"/>
              <a:cs typeface="+mj-cs"/>
            </a:endParaRPr>
          </a:p>
        </p:txBody>
      </p:sp>
      <p:pic>
        <p:nvPicPr>
          <p:cNvPr id="166924" name="Picture 1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709" y="1225550"/>
            <a:ext cx="7192108" cy="541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55913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FOdrMxj0SAz3uCVjvk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M Template">
  <a:themeElements>
    <a:clrScheme name="STT 1.15">
      <a:dk1>
        <a:srgbClr val="000000"/>
      </a:dk1>
      <a:lt1>
        <a:srgbClr val="FFFFFF"/>
      </a:lt1>
      <a:dk2>
        <a:srgbClr val="E4ECF0"/>
      </a:dk2>
      <a:lt2>
        <a:srgbClr val="0A2F5D"/>
      </a:lt2>
      <a:accent1>
        <a:srgbClr val="007298"/>
      </a:accent1>
      <a:accent2>
        <a:srgbClr val="65CCE9"/>
      </a:accent2>
      <a:accent3>
        <a:srgbClr val="F56E00"/>
      </a:accent3>
      <a:accent4>
        <a:srgbClr val="5E4565"/>
      </a:accent4>
      <a:accent5>
        <a:srgbClr val="A5A5A5"/>
      </a:accent5>
      <a:accent6>
        <a:srgbClr val="00AE79"/>
      </a:accent6>
      <a:hlink>
        <a:srgbClr val="0A2F5D"/>
      </a:hlink>
      <a:folHlink>
        <a:srgbClr val="0A2F5D"/>
      </a:folHlink>
    </a:clrScheme>
    <a:fontScheme name="STT 1.1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2"/>
          </a:solidFill>
        </a:ln>
      </a:spPr>
      <a:bodyPr lIns="0" tIns="0" rIns="0" bIns="0" rtlCol="0" anchor="ctr" anchorCtr="1"/>
      <a:lstStyle>
        <a:defPPr algn="ctr">
          <a:defRPr sz="1600" dirty="0" smtClean="0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5"/>
        </a:lnRef>
        <a:fillRef idx="0">
          <a:schemeClr val="accent5"/>
        </a:fillRef>
        <a:effectRef idx="0">
          <a:schemeClr val="accent5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8521349D79424DB8248471072B2F67" ma:contentTypeVersion="1" ma:contentTypeDescription="Create a new document." ma:contentTypeScope="" ma:versionID="9a19796dd266d67fa2d21ed3c8ede19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6BACB75-1C9D-43B5-B264-00F516D59F23}">
  <ds:schemaRefs>
    <ds:schemaRef ds:uri="http://purl.org/dc/elements/1.1/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4368316-FFA6-44B9-AA9D-5313D9B1E5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230C43B-4B8C-4A67-849E-A85918A4FF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M Template</Template>
  <TotalTime>11192</TotalTime>
  <Words>588</Words>
  <Application>Microsoft Office PowerPoint</Application>
  <PresentationFormat>On-screen Show (4:3)</PresentationFormat>
  <Paragraphs>219</Paragraphs>
  <Slides>13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ADM Template</vt:lpstr>
      <vt:lpstr>think-cell Slide</vt:lpstr>
      <vt:lpstr> GQS Automation Framework Overview</vt:lpstr>
      <vt:lpstr>Table of Contents</vt:lpstr>
      <vt:lpstr>Key Design Considerations</vt:lpstr>
      <vt:lpstr>Framework Architecture</vt:lpstr>
      <vt:lpstr>PowerPoint Presentation</vt:lpstr>
      <vt:lpstr>PowerPoint Presentation</vt:lpstr>
      <vt:lpstr>ARD / Automation End to End Workflow </vt:lpstr>
      <vt:lpstr>Summary</vt:lpstr>
      <vt:lpstr>PowerPoint Presentation</vt:lpstr>
      <vt:lpstr>GQSFramework Development Modal</vt:lpstr>
      <vt:lpstr>PowerPoint Presentation</vt:lpstr>
      <vt:lpstr>Download</vt:lpstr>
      <vt:lpstr>Technical Support</vt:lpstr>
    </vt:vector>
  </TitlesOfParts>
  <Company>State Stree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M Analysis, Test &amp; Deployment (ADM AT&amp;D) SSHZ  Automation Testing Overview</dc:title>
  <dc:creator>Wei, Jinyan</dc:creator>
  <cp:keywords>Company Internal</cp:keywords>
  <cp:lastModifiedBy>Xu, Zhao</cp:lastModifiedBy>
  <cp:revision>255</cp:revision>
  <dcterms:created xsi:type="dcterms:W3CDTF">2017-04-11T02:10:15Z</dcterms:created>
  <dcterms:modified xsi:type="dcterms:W3CDTF">2017-09-28T07:2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8521349D79424DB8248471072B2F67</vt:lpwstr>
  </property>
  <property fmtid="{D5CDD505-2E9C-101B-9397-08002B2CF9AE}" pid="3" name="TaxKeyword">
    <vt:lpwstr/>
  </property>
  <property fmtid="{D5CDD505-2E9C-101B-9397-08002B2CF9AE}" pid="4" name="Document MetaData">
    <vt:lpwstr>Limited Access</vt:lpwstr>
  </property>
  <property fmtid="{D5CDD505-2E9C-101B-9397-08002B2CF9AE}" pid="5" name="Client Document">
    <vt:i4>0</vt:i4>
  </property>
  <property fmtid="{D5CDD505-2E9C-101B-9397-08002B2CF9AE}" pid="6" name="Remember Choice">
    <vt:i4>0</vt:i4>
  </property>
  <property fmtid="{D5CDD505-2E9C-101B-9397-08002B2CF9AE}" pid="7" name="TitusGUID">
    <vt:lpwstr>29fc4a00-80b5-429e-9333-410bdfb3a5fa</vt:lpwstr>
  </property>
  <property fmtid="{D5CDD505-2E9C-101B-9397-08002B2CF9AE}" pid="8" name="SSCClassification">
    <vt:lpwstr>CI</vt:lpwstr>
  </property>
  <property fmtid="{D5CDD505-2E9C-101B-9397-08002B2CF9AE}" pid="9" name="SSCVisualMarks">
    <vt:lpwstr>Y</vt:lpwstr>
  </property>
</Properties>
</file>